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40" r:id="rId5"/>
  </p:sldMasterIdLst>
  <p:notesMasterIdLst>
    <p:notesMasterId r:id="rId10"/>
  </p:notesMasterIdLst>
  <p:sldIdLst>
    <p:sldId id="2147481235" r:id="rId6"/>
    <p:sldId id="2147481263" r:id="rId7"/>
    <p:sldId id="2147481264" r:id="rId8"/>
    <p:sldId id="2147481265" r:id="rId9"/>
  </p:sldIdLst>
  <p:sldSz cx="12192000" cy="6858000"/>
  <p:notesSz cx="6797675" cy="9872663"/>
  <p:custDataLst>
    <p:tags r:id="rId11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147481235"/>
            <p14:sldId id="2147481263"/>
            <p14:sldId id="2147481264"/>
            <p14:sldId id="2147481265"/>
          </p14:sldIdLst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E784515-E970-77BD-BCC8-B132237FEA39}" name="Lise Lundgreen" initials="LL" userId="S::llundgreen@Nilfisk.com::850d87c9-91fe-43b0-8ad0-c09bca2e5553" providerId="AD"/>
  <p188:author id="{1D70E918-029A-92A4-F84C-64BBCF744EF1}" name="Christian Kiaer Sonderbaek" initials="CS" userId="S::csonderbaek@nilfisk.com::2d2fd8bd-6db5-47df-a5a5-cf18a335939c" providerId="AD"/>
  <p188:author id="{A0C6731C-A1A9-DDDC-4457-40A12B4C4798}" name="Lois Cannon" initials="LC" userId="S::lcannon@nilfisk.com::4261f7f7-c9ce-4d1d-b12c-1dfe6cd05a67" providerId="AD"/>
  <p188:author id="{CCE1D22A-4564-FEA0-066D-AE80ED435C8C}" name="Line Skovbjerg" initials="LS" userId="S::lskovbjerg@Nilfisk.com::bd8d82be-b2a3-4297-892b-01dc5ddd9e5a" providerId="AD"/>
  <p188:author id="{A8C40F34-F431-9F4B-723D-D6F4FFA17F1F}" name="Cathrine Pedersen" initials="CP" userId="S::cpedersen@nilfisk.com::dc045f69-d505-451c-8404-252e28bb37b7" providerId="AD"/>
  <p188:author id="{FDC7F346-4312-36AF-0FF5-21C8082AB47A}" name="Claes Jensen" initials="CJ" userId="S::cljensen@nilfisk.com::4b63c7b0-aedc-4164-ae98-dea0b535c4ad" providerId="AD"/>
  <p188:author id="{9D3B314F-2A3A-E783-9851-CEEE267F4BAA}" name="Winnie Korse" initials="" userId="S::wkorse@Nilfisk.com::ac79d79f-fe32-4cea-ac40-a1d4240ff9d8" providerId="AD"/>
  <p188:author id="{ED46A062-2C3C-9DA5-2691-96A240C7AA6B}" name="Claus Sande Hansen" initials="CH" userId="S::cshansen@nilfisk.com::c8dcade3-5028-4cbb-92a3-91c4523bac42" providerId="AD"/>
  <p188:author id="{9ADE4966-A9F2-16A7-70FD-064CBB797F73}" name="Louise Heine Cassens" initials="LC" userId="S::v-lhcassens@nilfisk.com::2c858d57-9319-4d86-a5e0-291a2ac31824" providerId="AD"/>
  <p188:author id="{03F1206D-F013-149E-C148-D86DA472F13F}" name="Line Skovbjerg" initials="" userId="S::lskovbjerg@nilfisk.com::bd8d82be-b2a3-4297-892b-01dc5ddd9e5a" providerId="AD"/>
  <p188:author id="{853A087C-D504-1171-AF19-FE7C1311146B}" name="Thomas Brender" initials="TB" userId="S::tbrender@Nilfisk.com::fba71798-28ad-45a0-af2c-b16f100a9038" providerId="AD"/>
  <p188:author id="{0B661285-AFA2-60A4-87CF-A4DDB27E710E}" name="Louise Heine Cassens" initials="" userId="S::v-lhcassens@Nilfisk.com::2c858d57-9319-4d86-a5e0-291a2ac31824" providerId="AD"/>
  <p188:author id="{6589D7B6-7D68-9633-A2DD-9C1F6B99529A}" name="Tine Maribo" initials="TM" userId="S::TMaribo@Nilfisk.com::541adeda-b521-4320-b16e-22c421cfdf6f" providerId="AD"/>
  <p188:author id="{772B4ABE-CD17-8C1E-A0FB-A35CC85FECDC}" name="Lois Cannon" initials="LC" userId="S::lcannon@Nilfisk.com::4261f7f7-c9ce-4d1d-b12c-1dfe6cd05a67" providerId="AD"/>
  <p188:author id="{41597BBF-A003-4935-3E03-8438D0945FF6}" name="Tine Maribo" initials="TM" userId="S::tmaribo@nilfisk.com::541adeda-b521-4320-b16e-22c421cfdf6f" providerId="AD"/>
  <p188:author id="{613FEDC2-B21F-69D9-F6D7-71FC7431C363}" name="Christian Kiaer Sonderbaek" initials="CS" userId="S::csonderbaek@Nilfisk.com::2d2fd8bd-6db5-47df-a5a5-cf18a335939c" providerId="AD"/>
  <p188:author id="{1AC1A9DD-7A9E-FFEC-B72D-AECB85A546CD}" name="Abiola Adedeji" initials="" userId="S::aadedeji@Nilfisk.com::bd650f4c-6fc3-450f-8346-f5d03c75b5be" providerId="AD"/>
  <p188:author id="{F03ACFE6-8000-530D-164B-E4065873E991}" name="Abiola Adedeji" initials="AA" userId="S::aadedeji@nilfisk.com::bd650f4c-6fc3-450f-8346-f5d03c75b5be" providerId="AD"/>
  <p188:author id="{02AE50F3-3041-0F4C-19D5-3847CB06A822}" name="Lise Lundgreen" initials="LL" userId="S::llundgreen@nilfisk.com::850d87c9-91fe-43b0-8ad0-c09bca2e555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DCFBF"/>
    <a:srgbClr val="8997A4"/>
    <a:srgbClr val="7C878E"/>
    <a:srgbClr val="979797"/>
    <a:srgbClr val="4B4F54"/>
    <a:srgbClr val="606A70"/>
    <a:srgbClr val="D4CFBE"/>
    <a:srgbClr val="82827E"/>
    <a:srgbClr val="054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25" d="100"/>
          <a:sy n="125" d="100"/>
        </p:scale>
        <p:origin x="-864" y="-12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/2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320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546840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1531915"/>
            <a:ext cx="5468407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4" name="Content Placeholder 18">
            <a:extLst>
              <a:ext uri="{FF2B5EF4-FFF2-40B4-BE49-F238E27FC236}">
                <a16:creationId xmlns:a16="http://schemas.microsoft.com/office/drawing/2014/main" id="{1B9AB21B-BF85-FA9F-A2EF-E2DF01D06D6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242215" y="1529985"/>
            <a:ext cx="546840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2549183-9578-8CC1-C9DC-0CB5BBD94A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42214" y="1531915"/>
            <a:ext cx="5468407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75101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C8F3E8B9-E331-387E-4518-D7544E4B86F5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8146894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C7E8664-B014-1624-21DA-BD526D4B45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46894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F84D6C33-73ED-8270-916B-30D941425A0D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4316413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CD66D80-428B-CE79-4EBA-775FEA30F7C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16413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14503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202317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E4B72B7-A526-2519-B6B5-E20B8155775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944920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239D2BDB-DD7C-F963-152E-15CF7711EB14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7944920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2F215D0-D084-3E05-000E-E8A0D6DF0D1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82802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03B7D34-D5D7-C8A4-EE2E-738FF564830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504677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23" name="Content Placeholder 18">
            <a:extLst>
              <a:ext uri="{FF2B5EF4-FFF2-40B4-BE49-F238E27FC236}">
                <a16:creationId xmlns:a16="http://schemas.microsoft.com/office/drawing/2014/main" id="{27B78BFA-D213-B8E2-B9ED-DF8B06877ADA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4504677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BDD6C30-B174-5F35-1A9E-5A59834FA3D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642559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ess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2F67EB3B-8D30-F523-32C2-71067DD84921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969088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58FC841-C5BF-EDEB-EE69-BA775137906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9088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5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9D1BC144-B600-83FC-7695-370205FB350F}"/>
              </a:ext>
            </a:extLst>
          </p:cNvPr>
          <p:cNvSpPr>
            <a:spLocks noGrp="1"/>
          </p:cNvSpPr>
          <p:nvPr>
            <p:ph sz="quarter" idx="58" hasCustomPrompt="1"/>
          </p:nvPr>
        </p:nvSpPr>
        <p:spPr>
          <a:xfrm>
            <a:off x="7412377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8BF6220-56FD-9B14-39B8-A2425E5025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412377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9A77C51-F685-02C9-A245-F673E6C393BF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5120924" y="3313612"/>
            <a:ext cx="2030695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DD8A1450-E579-C07C-FB9F-F0260C2560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120924" y="2914458"/>
            <a:ext cx="2030695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ontent Placeholder 18">
            <a:extLst>
              <a:ext uri="{FF2B5EF4-FFF2-40B4-BE49-F238E27FC236}">
                <a16:creationId xmlns:a16="http://schemas.microsoft.com/office/drawing/2014/main" id="{5B2E6E92-EF18-DCA4-FAC7-54ED40A2969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280290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57A9CF4-2F42-F129-7DE4-7E0D0F5C561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0290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50500BB-A444-171F-24BB-0B19F0CDAB39}"/>
              </a:ext>
            </a:extLst>
          </p:cNvPr>
          <p:cNvSpPr/>
          <p:nvPr userDrawn="1"/>
        </p:nvSpPr>
        <p:spPr>
          <a:xfrm>
            <a:off x="1007775" y="1732702"/>
            <a:ext cx="966501" cy="966501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B64C9FC3-E1E1-0AD6-3178-04D820A28CDA}"/>
              </a:ext>
            </a:extLst>
          </p:cNvPr>
          <p:cNvSpPr/>
          <p:nvPr userDrawn="1"/>
        </p:nvSpPr>
        <p:spPr>
          <a:xfrm>
            <a:off x="3278916" y="1732702"/>
            <a:ext cx="966501" cy="966501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4FB6104A-4D7F-A829-83DE-0E74498FFF46}"/>
              </a:ext>
            </a:extLst>
          </p:cNvPr>
          <p:cNvSpPr/>
          <p:nvPr userDrawn="1"/>
        </p:nvSpPr>
        <p:spPr>
          <a:xfrm>
            <a:off x="5609821" y="1732702"/>
            <a:ext cx="966501" cy="966501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8528F9F9-2E01-2889-4A98-59E84D9EFE39}"/>
              </a:ext>
            </a:extLst>
          </p:cNvPr>
          <p:cNvSpPr/>
          <p:nvPr userDrawn="1"/>
        </p:nvSpPr>
        <p:spPr>
          <a:xfrm>
            <a:off x="7940726" y="1732702"/>
            <a:ext cx="966501" cy="966501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D44908A6-989A-973A-915D-BBC0A25E28E0}"/>
              </a:ext>
            </a:extLst>
          </p:cNvPr>
          <p:cNvSpPr/>
          <p:nvPr userDrawn="1"/>
        </p:nvSpPr>
        <p:spPr>
          <a:xfrm>
            <a:off x="10229964" y="1732702"/>
            <a:ext cx="966501" cy="966501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04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ess Diagram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90456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590456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2F67EB3B-8D30-F523-32C2-71067DD84921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950803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58FC841-C5BF-EDEB-EE69-BA775137906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0803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5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9D1BC144-B600-83FC-7695-370205FB350F}"/>
              </a:ext>
            </a:extLst>
          </p:cNvPr>
          <p:cNvSpPr>
            <a:spLocks noGrp="1"/>
          </p:cNvSpPr>
          <p:nvPr>
            <p:ph sz="quarter" idx="58" hasCustomPrompt="1"/>
          </p:nvPr>
        </p:nvSpPr>
        <p:spPr>
          <a:xfrm>
            <a:off x="7278638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8BF6220-56FD-9B14-39B8-A2425E5025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78638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9A77C51-F685-02C9-A245-F673E6C393BF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5049244" y="3313612"/>
            <a:ext cx="2030695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DD8A1450-E579-C07C-FB9F-F0260C2560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049244" y="2914458"/>
            <a:ext cx="2030695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ontent Placeholder 18">
            <a:extLst>
              <a:ext uri="{FF2B5EF4-FFF2-40B4-BE49-F238E27FC236}">
                <a16:creationId xmlns:a16="http://schemas.microsoft.com/office/drawing/2014/main" id="{5B2E6E92-EF18-DCA4-FAC7-54ED40A2969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2825370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57A9CF4-2F42-F129-7DE4-7E0D0F5C561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25370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Vinkel 2">
            <a:extLst>
              <a:ext uri="{FF2B5EF4-FFF2-40B4-BE49-F238E27FC236}">
                <a16:creationId xmlns:a16="http://schemas.microsoft.com/office/drawing/2014/main" id="{6E4C9855-4B82-AB5E-F7DE-0791E9D18954}"/>
              </a:ext>
            </a:extLst>
          </p:cNvPr>
          <p:cNvSpPr/>
          <p:nvPr userDrawn="1"/>
        </p:nvSpPr>
        <p:spPr>
          <a:xfrm>
            <a:off x="590456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15" name="Vinkel 14">
            <a:extLst>
              <a:ext uri="{FF2B5EF4-FFF2-40B4-BE49-F238E27FC236}">
                <a16:creationId xmlns:a16="http://schemas.microsoft.com/office/drawing/2014/main" id="{AFA0C285-498C-4FF1-05FD-39B2B81FD66B}"/>
              </a:ext>
            </a:extLst>
          </p:cNvPr>
          <p:cNvSpPr/>
          <p:nvPr userDrawn="1"/>
        </p:nvSpPr>
        <p:spPr>
          <a:xfrm>
            <a:off x="2819850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1" name="Vinkel 20">
            <a:extLst>
              <a:ext uri="{FF2B5EF4-FFF2-40B4-BE49-F238E27FC236}">
                <a16:creationId xmlns:a16="http://schemas.microsoft.com/office/drawing/2014/main" id="{1808802B-8C32-CE70-4ADD-FB79B297BF4B}"/>
              </a:ext>
            </a:extLst>
          </p:cNvPr>
          <p:cNvSpPr/>
          <p:nvPr userDrawn="1"/>
        </p:nvSpPr>
        <p:spPr>
          <a:xfrm>
            <a:off x="5049244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4" name="Vinkel 23">
            <a:extLst>
              <a:ext uri="{FF2B5EF4-FFF2-40B4-BE49-F238E27FC236}">
                <a16:creationId xmlns:a16="http://schemas.microsoft.com/office/drawing/2014/main" id="{C0A4F95D-BBFF-9B01-8A56-C150DF714468}"/>
              </a:ext>
            </a:extLst>
          </p:cNvPr>
          <p:cNvSpPr/>
          <p:nvPr userDrawn="1"/>
        </p:nvSpPr>
        <p:spPr>
          <a:xfrm>
            <a:off x="7278638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6" name="Vinkel 25">
            <a:extLst>
              <a:ext uri="{FF2B5EF4-FFF2-40B4-BE49-F238E27FC236}">
                <a16:creationId xmlns:a16="http://schemas.microsoft.com/office/drawing/2014/main" id="{41961900-AEBF-BED6-2BA0-3BAB460AD75E}"/>
              </a:ext>
            </a:extLst>
          </p:cNvPr>
          <p:cNvSpPr/>
          <p:nvPr userDrawn="1"/>
        </p:nvSpPr>
        <p:spPr>
          <a:xfrm>
            <a:off x="9508032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6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54E0BECD-87D5-4981-9376-71FA587133D2}"/>
              </a:ext>
            </a:extLst>
          </p:cNvPr>
          <p:cNvSpPr txBox="1">
            <a:spLocks/>
          </p:cNvSpPr>
          <p:nvPr userDrawn="1"/>
        </p:nvSpPr>
        <p:spPr>
          <a:xfrm>
            <a:off x="8288655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92EB964B-2130-AE93-0677-C43066F3291C}"/>
              </a:ext>
            </a:extLst>
          </p:cNvPr>
          <p:cNvSpPr txBox="1">
            <a:spLocks/>
          </p:cNvSpPr>
          <p:nvPr userDrawn="1"/>
        </p:nvSpPr>
        <p:spPr>
          <a:xfrm>
            <a:off x="4389317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3299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21" name="Content Placeholder 18">
            <a:extLst>
              <a:ext uri="{FF2B5EF4-FFF2-40B4-BE49-F238E27FC236}">
                <a16:creationId xmlns:a16="http://schemas.microsoft.com/office/drawing/2014/main" id="{93EB4BDC-CFD2-DD67-48D9-AD82C502E868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8291659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ladsholder til billede 33">
            <a:extLst>
              <a:ext uri="{FF2B5EF4-FFF2-40B4-BE49-F238E27FC236}">
                <a16:creationId xmlns:a16="http://schemas.microsoft.com/office/drawing/2014/main" id="{B42BE332-B83D-C163-05FE-E40C0584C122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8288656" y="1512829"/>
            <a:ext cx="3427388" cy="14407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2" name="Content Placeholder 18">
            <a:extLst>
              <a:ext uri="{FF2B5EF4-FFF2-40B4-BE49-F238E27FC236}">
                <a16:creationId xmlns:a16="http://schemas.microsoft.com/office/drawing/2014/main" id="{A45A6AFB-7EDE-EB24-06AD-94073B43DCF4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4392321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Pladsholder til billede 33">
            <a:extLst>
              <a:ext uri="{FF2B5EF4-FFF2-40B4-BE49-F238E27FC236}">
                <a16:creationId xmlns:a16="http://schemas.microsoft.com/office/drawing/2014/main" id="{CA972754-1963-8062-40D7-435A341FECC7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4389318" y="1512829"/>
            <a:ext cx="3427388" cy="14407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6303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73300" y="1512829"/>
            <a:ext cx="3427388" cy="14407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82485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B7811051-778C-455E-359A-793B7B235CCA}"/>
              </a:ext>
            </a:extLst>
          </p:cNvPr>
          <p:cNvSpPr txBox="1">
            <a:spLocks/>
          </p:cNvSpPr>
          <p:nvPr userDrawn="1"/>
        </p:nvSpPr>
        <p:spPr>
          <a:xfrm>
            <a:off x="9189595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7B056E0A-6F6A-087D-4118-E7B519F24897}"/>
              </a:ext>
            </a:extLst>
          </p:cNvPr>
          <p:cNvSpPr txBox="1">
            <a:spLocks/>
          </p:cNvSpPr>
          <p:nvPr userDrawn="1"/>
        </p:nvSpPr>
        <p:spPr>
          <a:xfrm>
            <a:off x="6254666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29621AB9-91B9-9E64-0FB4-0D85991B0D17}"/>
              </a:ext>
            </a:extLst>
          </p:cNvPr>
          <p:cNvSpPr txBox="1">
            <a:spLocks/>
          </p:cNvSpPr>
          <p:nvPr userDrawn="1"/>
        </p:nvSpPr>
        <p:spPr>
          <a:xfrm>
            <a:off x="3363983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3299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59E5D0C-391D-866C-3643-C41A5EE3B8F7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191818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ladsholder til billede 33">
            <a:extLst>
              <a:ext uri="{FF2B5EF4-FFF2-40B4-BE49-F238E27FC236}">
                <a16:creationId xmlns:a16="http://schemas.microsoft.com/office/drawing/2014/main" id="{6179D807-6532-E77D-6BB4-BB9584324119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9189598" y="1512829"/>
            <a:ext cx="2532847" cy="14407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Content Placeholder 18">
            <a:extLst>
              <a:ext uri="{FF2B5EF4-FFF2-40B4-BE49-F238E27FC236}">
                <a16:creationId xmlns:a16="http://schemas.microsoft.com/office/drawing/2014/main" id="{5CC426C2-FF41-AA5D-96A7-733BB2E1F773}"/>
              </a:ext>
            </a:extLst>
          </p:cNvPr>
          <p:cNvSpPr>
            <a:spLocks noGrp="1"/>
          </p:cNvSpPr>
          <p:nvPr>
            <p:ph sz="quarter" idx="72" hasCustomPrompt="1"/>
          </p:nvPr>
        </p:nvSpPr>
        <p:spPr>
          <a:xfrm>
            <a:off x="6256889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Pladsholder til billede 33">
            <a:extLst>
              <a:ext uri="{FF2B5EF4-FFF2-40B4-BE49-F238E27FC236}">
                <a16:creationId xmlns:a16="http://schemas.microsoft.com/office/drawing/2014/main" id="{231623A7-9208-1A75-924E-EDB3A4C2D728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6254669" y="1512829"/>
            <a:ext cx="2532847" cy="14407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3" name="Content Placeholder 18">
            <a:extLst>
              <a:ext uri="{FF2B5EF4-FFF2-40B4-BE49-F238E27FC236}">
                <a16:creationId xmlns:a16="http://schemas.microsoft.com/office/drawing/2014/main" id="{525DC129-819D-869B-4D7A-CC2B81C38070}"/>
              </a:ext>
            </a:extLst>
          </p:cNvPr>
          <p:cNvSpPr>
            <a:spLocks noGrp="1"/>
          </p:cNvSpPr>
          <p:nvPr>
            <p:ph sz="quarter" idx="70" hasCustomPrompt="1"/>
          </p:nvPr>
        </p:nvSpPr>
        <p:spPr>
          <a:xfrm>
            <a:off x="3366206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Pladsholder til billede 33">
            <a:extLst>
              <a:ext uri="{FF2B5EF4-FFF2-40B4-BE49-F238E27FC236}">
                <a16:creationId xmlns:a16="http://schemas.microsoft.com/office/drawing/2014/main" id="{8EB03BB6-6A6D-D71E-4923-D24ACA4327B1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363986" y="1512829"/>
            <a:ext cx="2532847" cy="14407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5522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73302" y="1512829"/>
            <a:ext cx="2532847" cy="14407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853153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Content Placeholder 1">
            <a:extLst>
              <a:ext uri="{FF2B5EF4-FFF2-40B4-BE49-F238E27FC236}">
                <a16:creationId xmlns:a16="http://schemas.microsoft.com/office/drawing/2014/main" id="{BC1F3DB5-AEDF-440E-460E-9C2BE96AB980}"/>
              </a:ext>
            </a:extLst>
          </p:cNvPr>
          <p:cNvSpPr txBox="1">
            <a:spLocks/>
          </p:cNvSpPr>
          <p:nvPr userDrawn="1"/>
        </p:nvSpPr>
        <p:spPr>
          <a:xfrm>
            <a:off x="9683830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45" name="Content Placeholder 18">
            <a:extLst>
              <a:ext uri="{FF2B5EF4-FFF2-40B4-BE49-F238E27FC236}">
                <a16:creationId xmlns:a16="http://schemas.microsoft.com/office/drawing/2014/main" id="{FFF6761A-3FFD-C428-92F1-A0CF7F7DFB1A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9681904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6" name="Pladsholder til billede 33">
            <a:extLst>
              <a:ext uri="{FF2B5EF4-FFF2-40B4-BE49-F238E27FC236}">
                <a16:creationId xmlns:a16="http://schemas.microsoft.com/office/drawing/2014/main" id="{85B565BF-A82C-0FE1-983E-486FD2FF1372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9686133" y="1512829"/>
            <a:ext cx="2014007" cy="144355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BF3C567D-C675-EC6C-074A-48AA30142F56}"/>
              </a:ext>
            </a:extLst>
          </p:cNvPr>
          <p:cNvSpPr txBox="1">
            <a:spLocks/>
          </p:cNvSpPr>
          <p:nvPr userDrawn="1"/>
        </p:nvSpPr>
        <p:spPr>
          <a:xfrm>
            <a:off x="7384767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42" name="Content Placeholder 18">
            <a:extLst>
              <a:ext uri="{FF2B5EF4-FFF2-40B4-BE49-F238E27FC236}">
                <a16:creationId xmlns:a16="http://schemas.microsoft.com/office/drawing/2014/main" id="{AA901076-D7C0-BC5B-17EF-EEE88E962ADB}"/>
              </a:ext>
            </a:extLst>
          </p:cNvPr>
          <p:cNvSpPr>
            <a:spLocks noGrp="1"/>
          </p:cNvSpPr>
          <p:nvPr>
            <p:ph sz="quarter" idx="69" hasCustomPrompt="1"/>
          </p:nvPr>
        </p:nvSpPr>
        <p:spPr>
          <a:xfrm>
            <a:off x="7382841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3" name="Pladsholder til billede 33">
            <a:extLst>
              <a:ext uri="{FF2B5EF4-FFF2-40B4-BE49-F238E27FC236}">
                <a16:creationId xmlns:a16="http://schemas.microsoft.com/office/drawing/2014/main" id="{2325EDFA-5012-AE21-524B-15FE7D58A0DE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7387070" y="1512829"/>
            <a:ext cx="2014007" cy="144355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38" name="Content Placeholder 1">
            <a:extLst>
              <a:ext uri="{FF2B5EF4-FFF2-40B4-BE49-F238E27FC236}">
                <a16:creationId xmlns:a16="http://schemas.microsoft.com/office/drawing/2014/main" id="{F13927F8-0FDF-F8AD-C210-A90FCDC6AAAC}"/>
              </a:ext>
            </a:extLst>
          </p:cNvPr>
          <p:cNvSpPr txBox="1">
            <a:spLocks/>
          </p:cNvSpPr>
          <p:nvPr userDrawn="1"/>
        </p:nvSpPr>
        <p:spPr>
          <a:xfrm>
            <a:off x="5085705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14ED8B99-3B90-5723-67F2-B4CCA7550957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5083779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Pladsholder til billede 33">
            <a:extLst>
              <a:ext uri="{FF2B5EF4-FFF2-40B4-BE49-F238E27FC236}">
                <a16:creationId xmlns:a16="http://schemas.microsoft.com/office/drawing/2014/main" id="{2D65EEE3-0FBA-EA00-A111-5D0A1742C79B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5088008" y="1512829"/>
            <a:ext cx="2014007" cy="144355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38579D79-DF64-F0A0-D2D9-8FC4E4ECADD8}"/>
              </a:ext>
            </a:extLst>
          </p:cNvPr>
          <p:cNvSpPr txBox="1">
            <a:spLocks/>
          </p:cNvSpPr>
          <p:nvPr userDrawn="1"/>
        </p:nvSpPr>
        <p:spPr>
          <a:xfrm>
            <a:off x="2777934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FD1820C2-BB04-2E07-3372-B0F07BC0CC6E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2776008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Pladsholder til billede 33">
            <a:extLst>
              <a:ext uri="{FF2B5EF4-FFF2-40B4-BE49-F238E27FC236}">
                <a16:creationId xmlns:a16="http://schemas.microsoft.com/office/drawing/2014/main" id="{7B3D09E7-DC56-543C-009F-832BB87468BC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2780237" y="1512829"/>
            <a:ext cx="2014007" cy="144355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8872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6946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81175" y="1512829"/>
            <a:ext cx="2014007" cy="144355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2682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10" name="Pladsholder til tabel 9">
            <a:extLst>
              <a:ext uri="{FF2B5EF4-FFF2-40B4-BE49-F238E27FC236}">
                <a16:creationId xmlns:a16="http://schemas.microsoft.com/office/drawing/2014/main" id="{60B336A9-F04D-446C-2BEA-65F50C061020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476250" y="1629720"/>
            <a:ext cx="11234738" cy="4070350"/>
          </a:xfrm>
        </p:spPr>
        <p:txBody>
          <a:bodyPr/>
          <a:lstStyle/>
          <a:p>
            <a:r>
              <a:rPr lang="en-US"/>
              <a:t>Click icon to add tab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Pladsholder til billede 98">
            <a:extLst>
              <a:ext uri="{FF2B5EF4-FFF2-40B4-BE49-F238E27FC236}">
                <a16:creationId xmlns:a16="http://schemas.microsoft.com/office/drawing/2014/main" id="{9E20A990-7204-FC6C-EFD1-AA75971EB956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>
            <a:off x="10077898" y="1928365"/>
            <a:ext cx="842454" cy="842455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40" name="Pladsholder til tekst 94">
            <a:extLst>
              <a:ext uri="{FF2B5EF4-FFF2-40B4-BE49-F238E27FC236}">
                <a16:creationId xmlns:a16="http://schemas.microsoft.com/office/drawing/2014/main" id="{B931819F-A797-13F2-1688-F539C60D73D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644580" y="281255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1" name="Pladsholder til tekst 94">
            <a:extLst>
              <a:ext uri="{FF2B5EF4-FFF2-40B4-BE49-F238E27FC236}">
                <a16:creationId xmlns:a16="http://schemas.microsoft.com/office/drawing/2014/main" id="{9751BB81-3C7C-0E71-74DA-8C8E0615C95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0644946" y="317138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8" name="Pladsholder til tekst 94">
            <a:extLst>
              <a:ext uri="{FF2B5EF4-FFF2-40B4-BE49-F238E27FC236}">
                <a16:creationId xmlns:a16="http://schemas.microsoft.com/office/drawing/2014/main" id="{980FC341-76C1-42A8-1A43-B9E9E51561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73030" y="414922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9" name="Pladsholder til tekst 94">
            <a:extLst>
              <a:ext uri="{FF2B5EF4-FFF2-40B4-BE49-F238E27FC236}">
                <a16:creationId xmlns:a16="http://schemas.microsoft.com/office/drawing/2014/main" id="{A2D2C1FE-45BC-CF49-4C9B-A22A5F48A32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673396" y="4508064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6" name="Pladsholder til tekst 94">
            <a:extLst>
              <a:ext uri="{FF2B5EF4-FFF2-40B4-BE49-F238E27FC236}">
                <a16:creationId xmlns:a16="http://schemas.microsoft.com/office/drawing/2014/main" id="{6CCFFACB-0467-FD75-3A92-20BFE336B04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896372" y="4097710"/>
            <a:ext cx="562244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7" name="Pladsholder til tekst 94">
            <a:extLst>
              <a:ext uri="{FF2B5EF4-FFF2-40B4-BE49-F238E27FC236}">
                <a16:creationId xmlns:a16="http://schemas.microsoft.com/office/drawing/2014/main" id="{200F3E1C-7F23-7695-4AF1-906167B2537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891393" y="4259866"/>
            <a:ext cx="562244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4" name="Pladsholder til tekst 94">
            <a:extLst>
              <a:ext uri="{FF2B5EF4-FFF2-40B4-BE49-F238E27FC236}">
                <a16:creationId xmlns:a16="http://schemas.microsoft.com/office/drawing/2014/main" id="{9E8F5F0F-386E-869F-DB14-2FEB0C611FA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012506" y="4152403"/>
            <a:ext cx="750162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5" name="Pladsholder til tekst 94">
            <a:extLst>
              <a:ext uri="{FF2B5EF4-FFF2-40B4-BE49-F238E27FC236}">
                <a16:creationId xmlns:a16="http://schemas.microsoft.com/office/drawing/2014/main" id="{AC3AE871-0997-40D5-952B-CEE0A925787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012872" y="4511239"/>
            <a:ext cx="750162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2" name="Pladsholder til tekst 94">
            <a:extLst>
              <a:ext uri="{FF2B5EF4-FFF2-40B4-BE49-F238E27FC236}">
                <a16:creationId xmlns:a16="http://schemas.microsoft.com/office/drawing/2014/main" id="{9D411437-ED41-3D32-2273-E7E5D86C34F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280296" y="42501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3" name="Pladsholder til tekst 94">
            <a:extLst>
              <a:ext uri="{FF2B5EF4-FFF2-40B4-BE49-F238E27FC236}">
                <a16:creationId xmlns:a16="http://schemas.microsoft.com/office/drawing/2014/main" id="{7AC81102-99C5-A9BF-88D8-E2B148B96B4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275317" y="4412266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0" name="Pladsholder til tekst 94">
            <a:extLst>
              <a:ext uri="{FF2B5EF4-FFF2-40B4-BE49-F238E27FC236}">
                <a16:creationId xmlns:a16="http://schemas.microsoft.com/office/drawing/2014/main" id="{8B156160-41CA-056C-A640-CDA60D31FA8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450406" y="4095253"/>
            <a:ext cx="727278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1" name="Pladsholder til tekst 94">
            <a:extLst>
              <a:ext uri="{FF2B5EF4-FFF2-40B4-BE49-F238E27FC236}">
                <a16:creationId xmlns:a16="http://schemas.microsoft.com/office/drawing/2014/main" id="{FC4CC06B-0922-2EA5-1379-891B49AD088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450772" y="4454089"/>
            <a:ext cx="726912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8" name="Pladsholder til tekst 94">
            <a:extLst>
              <a:ext uri="{FF2B5EF4-FFF2-40B4-BE49-F238E27FC236}">
                <a16:creationId xmlns:a16="http://schemas.microsoft.com/office/drawing/2014/main" id="{40639C39-A957-1724-0FDA-CE9E21E7A18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250755" y="28062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9" name="Pladsholder til tekst 94">
            <a:extLst>
              <a:ext uri="{FF2B5EF4-FFF2-40B4-BE49-F238E27FC236}">
                <a16:creationId xmlns:a16="http://schemas.microsoft.com/office/drawing/2014/main" id="{E6D1539D-A092-F88F-8D8B-220C3A6F492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251121" y="31650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6" name="Pladsholder til tekst 94">
            <a:extLst>
              <a:ext uri="{FF2B5EF4-FFF2-40B4-BE49-F238E27FC236}">
                <a16:creationId xmlns:a16="http://schemas.microsoft.com/office/drawing/2014/main" id="{42EE7F60-CEE9-EB0D-F0F5-01177C8E71C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590230" y="30983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7" name="Pladsholder til tekst 94">
            <a:extLst>
              <a:ext uri="{FF2B5EF4-FFF2-40B4-BE49-F238E27FC236}">
                <a16:creationId xmlns:a16="http://schemas.microsoft.com/office/drawing/2014/main" id="{B135AE8F-D578-ECDE-DDE5-57996869AD2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90596" y="34571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5" name="Pladsholder til billede 98">
            <a:extLst>
              <a:ext uri="{FF2B5EF4-FFF2-40B4-BE49-F238E27FC236}">
                <a16:creationId xmlns:a16="http://schemas.microsoft.com/office/drawing/2014/main" id="{3CF9086B-12B0-6236-85E5-19C0FE04B10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141821" y="2407247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23" name="Pladsholder til tekst 94">
            <a:extLst>
              <a:ext uri="{FF2B5EF4-FFF2-40B4-BE49-F238E27FC236}">
                <a16:creationId xmlns:a16="http://schemas.microsoft.com/office/drawing/2014/main" id="{8770F7BF-F5B2-2E79-B7BC-82930432C14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921521" y="33865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4" name="Pladsholder til tekst 94">
            <a:extLst>
              <a:ext uri="{FF2B5EF4-FFF2-40B4-BE49-F238E27FC236}">
                <a16:creationId xmlns:a16="http://schemas.microsoft.com/office/drawing/2014/main" id="{E09DAB10-E503-890E-52DF-E43069B3B39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916542" y="3548666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0" name="Pladsholder til tekst 94">
            <a:extLst>
              <a:ext uri="{FF2B5EF4-FFF2-40B4-BE49-F238E27FC236}">
                <a16:creationId xmlns:a16="http://schemas.microsoft.com/office/drawing/2014/main" id="{E189FEEA-41DB-B6EB-8CA5-2F2AAC5239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668302" y="3017233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1" name="Pladsholder til tekst 94">
            <a:extLst>
              <a:ext uri="{FF2B5EF4-FFF2-40B4-BE49-F238E27FC236}">
                <a16:creationId xmlns:a16="http://schemas.microsoft.com/office/drawing/2014/main" id="{595931B7-464E-79D9-0B74-D487960588D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663323" y="3179389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8" name="Pladsholder til tekst 94">
            <a:extLst>
              <a:ext uri="{FF2B5EF4-FFF2-40B4-BE49-F238E27FC236}">
                <a16:creationId xmlns:a16="http://schemas.microsoft.com/office/drawing/2014/main" id="{229974E6-56C5-3E51-C824-FA7ABF98F05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15355" y="28062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9" name="Pladsholder til tekst 94">
            <a:extLst>
              <a:ext uri="{FF2B5EF4-FFF2-40B4-BE49-F238E27FC236}">
                <a16:creationId xmlns:a16="http://schemas.microsoft.com/office/drawing/2014/main" id="{EFAF72A9-5052-1D55-074F-04D7976999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415721" y="31650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6" name="Pladsholder til tekst 94">
            <a:extLst>
              <a:ext uri="{FF2B5EF4-FFF2-40B4-BE49-F238E27FC236}">
                <a16:creationId xmlns:a16="http://schemas.microsoft.com/office/drawing/2014/main" id="{5F023651-1EC7-7697-A911-1CE3AEBAA58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623775" y="4005489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7" name="Pladsholder til tekst 94">
            <a:extLst>
              <a:ext uri="{FF2B5EF4-FFF2-40B4-BE49-F238E27FC236}">
                <a16:creationId xmlns:a16="http://schemas.microsoft.com/office/drawing/2014/main" id="{9D7EF8D3-ED08-1739-BEA9-07BE1AA3970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618796" y="4167644"/>
            <a:ext cx="618783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4" name="Pladsholder til tekst 94">
            <a:extLst>
              <a:ext uri="{FF2B5EF4-FFF2-40B4-BE49-F238E27FC236}">
                <a16:creationId xmlns:a16="http://schemas.microsoft.com/office/drawing/2014/main" id="{936CDD0E-6D50-A5E4-1BA9-E674900101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53569" y="43009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5" name="Pladsholder til tekst 94">
            <a:extLst>
              <a:ext uri="{FF2B5EF4-FFF2-40B4-BE49-F238E27FC236}">
                <a16:creationId xmlns:a16="http://schemas.microsoft.com/office/drawing/2014/main" id="{09085FBD-C21A-8D7D-1BBE-06C1EB2F0AE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48590" y="4463065"/>
            <a:ext cx="618783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2" name="Pladsholder til tekst 94">
            <a:extLst>
              <a:ext uri="{FF2B5EF4-FFF2-40B4-BE49-F238E27FC236}">
                <a16:creationId xmlns:a16="http://schemas.microsoft.com/office/drawing/2014/main" id="{01ADCF24-2B56-4C44-4730-61D129C5BF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57219" y="4005489"/>
            <a:ext cx="550200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3" name="Pladsholder til tekst 94">
            <a:extLst>
              <a:ext uri="{FF2B5EF4-FFF2-40B4-BE49-F238E27FC236}">
                <a16:creationId xmlns:a16="http://schemas.microsoft.com/office/drawing/2014/main" id="{8122AC8B-EE0A-5EAD-E9F8-B57E1B87937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52240" y="4167645"/>
            <a:ext cx="550200" cy="161168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0" name="Pladsholder til tekst 94">
            <a:extLst>
              <a:ext uri="{FF2B5EF4-FFF2-40B4-BE49-F238E27FC236}">
                <a16:creationId xmlns:a16="http://schemas.microsoft.com/office/drawing/2014/main" id="{B1A73FF4-DC69-7CEC-7F8B-0606C21F8E8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21585" y="4378283"/>
            <a:ext cx="754574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1" name="Pladsholder til tekst 94">
            <a:extLst>
              <a:ext uri="{FF2B5EF4-FFF2-40B4-BE49-F238E27FC236}">
                <a16:creationId xmlns:a16="http://schemas.microsoft.com/office/drawing/2014/main" id="{F89B2953-3F0A-EB28-A677-2652F24531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16606" y="4540438"/>
            <a:ext cx="754574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8" name="Pladsholder til tekst 94">
            <a:extLst>
              <a:ext uri="{FF2B5EF4-FFF2-40B4-BE49-F238E27FC236}">
                <a16:creationId xmlns:a16="http://schemas.microsoft.com/office/drawing/2014/main" id="{E5EE3DBA-A19B-D8F0-ADEF-2E5B3E47F81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44817" y="280972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9" name="Pladsholder til tekst 94">
            <a:extLst>
              <a:ext uri="{FF2B5EF4-FFF2-40B4-BE49-F238E27FC236}">
                <a16:creationId xmlns:a16="http://schemas.microsoft.com/office/drawing/2014/main" id="{83B49108-C05A-C654-DF01-2ED0817A1EE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45183" y="316855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6" name="Pladsholder til tekst 94">
            <a:extLst>
              <a:ext uri="{FF2B5EF4-FFF2-40B4-BE49-F238E27FC236}">
                <a16:creationId xmlns:a16="http://schemas.microsoft.com/office/drawing/2014/main" id="{84A4207D-3265-26A7-A31C-A6A87BCA01B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28426" y="408988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7" name="Pladsholder til tekst 94">
            <a:extLst>
              <a:ext uri="{FF2B5EF4-FFF2-40B4-BE49-F238E27FC236}">
                <a16:creationId xmlns:a16="http://schemas.microsoft.com/office/drawing/2014/main" id="{04F5F5AB-3FC7-862E-D78C-C3477B732D9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728792" y="444871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5" name="Pladsholder til billede 98">
            <a:extLst>
              <a:ext uri="{FF2B5EF4-FFF2-40B4-BE49-F238E27FC236}">
                <a16:creationId xmlns:a16="http://schemas.microsoft.com/office/drawing/2014/main" id="{D9291485-09B1-CD71-7F4D-1C8F4D43D6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291544" y="4767102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03" name="Pladsholder til tekst 94">
            <a:extLst>
              <a:ext uri="{FF2B5EF4-FFF2-40B4-BE49-F238E27FC236}">
                <a16:creationId xmlns:a16="http://schemas.microsoft.com/office/drawing/2014/main" id="{F4B62B82-E90D-E98D-159B-0F9C4C7FB50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14623" y="408988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4" name="Pladsholder til tekst 94">
            <a:extLst>
              <a:ext uri="{FF2B5EF4-FFF2-40B4-BE49-F238E27FC236}">
                <a16:creationId xmlns:a16="http://schemas.microsoft.com/office/drawing/2014/main" id="{B20548BE-C92A-20FB-961E-A93B6BB9C9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14989" y="444871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2" name="Pladsholder til billede 98">
            <a:extLst>
              <a:ext uri="{FF2B5EF4-FFF2-40B4-BE49-F238E27FC236}">
                <a16:creationId xmlns:a16="http://schemas.microsoft.com/office/drawing/2014/main" id="{24AC4F33-136C-E8A7-726A-16C483CD87F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4224" y="4767102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00" name="Pladsholder til tekst 94">
            <a:extLst>
              <a:ext uri="{FF2B5EF4-FFF2-40B4-BE49-F238E27FC236}">
                <a16:creationId xmlns:a16="http://schemas.microsoft.com/office/drawing/2014/main" id="{0E8BA278-B668-9D48-C2B9-EB63A4403A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31014" y="3077006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1" name="Pladsholder til tekst 94">
            <a:extLst>
              <a:ext uri="{FF2B5EF4-FFF2-40B4-BE49-F238E27FC236}">
                <a16:creationId xmlns:a16="http://schemas.microsoft.com/office/drawing/2014/main" id="{7F3B692C-EAA4-7F25-A0E2-F204A793C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31380" y="3435842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9" name="Pladsholder til billede 98">
            <a:extLst>
              <a:ext uri="{FF2B5EF4-FFF2-40B4-BE49-F238E27FC236}">
                <a16:creationId xmlns:a16="http://schemas.microsoft.com/office/drawing/2014/main" id="{AFBBB65C-BA6B-68A3-648B-464BEAA0180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855446" y="2407247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5" name="Pladsholder til tekst 94">
            <a:extLst>
              <a:ext uri="{FF2B5EF4-FFF2-40B4-BE49-F238E27FC236}">
                <a16:creationId xmlns:a16="http://schemas.microsoft.com/office/drawing/2014/main" id="{53E95E8D-2F7A-C151-427D-110A7E6E9B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863" y="2785102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cxnSp>
        <p:nvCxnSpPr>
          <p:cNvPr id="6" name="Straight Connector 76">
            <a:extLst>
              <a:ext uri="{FF2B5EF4-FFF2-40B4-BE49-F238E27FC236}">
                <a16:creationId xmlns:a16="http://schemas.microsoft.com/office/drawing/2014/main" id="{9CD83B4D-660F-5559-F62D-2EF9FDA68FF2}"/>
              </a:ext>
            </a:extLst>
          </p:cNvPr>
          <p:cNvCxnSpPr>
            <a:cxnSpLocks/>
          </p:cNvCxnSpPr>
          <p:nvPr userDrawn="1"/>
        </p:nvCxnSpPr>
        <p:spPr>
          <a:xfrm flipH="1">
            <a:off x="790054" y="3903347"/>
            <a:ext cx="10560804" cy="3071"/>
          </a:xfrm>
          <a:prstGeom prst="line">
            <a:avLst/>
          </a:prstGeom>
          <a:ln w="15875" cap="flat" cmpd="sng">
            <a:solidFill>
              <a:schemeClr val="accent3"/>
            </a:solidFill>
            <a:prstDash val="solid"/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77">
            <a:extLst>
              <a:ext uri="{FF2B5EF4-FFF2-40B4-BE49-F238E27FC236}">
                <a16:creationId xmlns:a16="http://schemas.microsoft.com/office/drawing/2014/main" id="{E2A41A7B-2124-15E5-599A-D21E2AE4EB95}"/>
              </a:ext>
            </a:extLst>
          </p:cNvPr>
          <p:cNvSpPr/>
          <p:nvPr userDrawn="1"/>
        </p:nvSpPr>
        <p:spPr>
          <a:xfrm>
            <a:off x="73379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0" name="Straight Connector 83">
            <a:extLst>
              <a:ext uri="{FF2B5EF4-FFF2-40B4-BE49-F238E27FC236}">
                <a16:creationId xmlns:a16="http://schemas.microsoft.com/office/drawing/2014/main" id="{0994A919-BA7D-888C-6CD1-7EF63D65B6C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4117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78">
            <a:extLst>
              <a:ext uri="{FF2B5EF4-FFF2-40B4-BE49-F238E27FC236}">
                <a16:creationId xmlns:a16="http://schemas.microsoft.com/office/drawing/2014/main" id="{DAAE40D4-8C5C-F95A-BD9B-31A645F31608}"/>
              </a:ext>
            </a:extLst>
          </p:cNvPr>
          <p:cNvSpPr/>
          <p:nvPr userDrawn="1"/>
        </p:nvSpPr>
        <p:spPr>
          <a:xfrm>
            <a:off x="1107925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3" name="Straight Connector 90">
            <a:extLst>
              <a:ext uri="{FF2B5EF4-FFF2-40B4-BE49-F238E27FC236}">
                <a16:creationId xmlns:a16="http://schemas.microsoft.com/office/drawing/2014/main" id="{72A5A006-4B01-DCEE-5329-9DC68171119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8243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79">
            <a:extLst>
              <a:ext uri="{FF2B5EF4-FFF2-40B4-BE49-F238E27FC236}">
                <a16:creationId xmlns:a16="http://schemas.microsoft.com/office/drawing/2014/main" id="{7580B4BB-70C3-87C4-3DF0-8A1930C4A36A}"/>
              </a:ext>
            </a:extLst>
          </p:cNvPr>
          <p:cNvSpPr/>
          <p:nvPr userDrawn="1"/>
        </p:nvSpPr>
        <p:spPr>
          <a:xfrm>
            <a:off x="2100386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9" name="Straight Connector 93">
            <a:extLst>
              <a:ext uri="{FF2B5EF4-FFF2-40B4-BE49-F238E27FC236}">
                <a16:creationId xmlns:a16="http://schemas.microsoft.com/office/drawing/2014/main" id="{287EA011-3519-1B8B-134B-A9345F81CAC8}"/>
              </a:ext>
            </a:extLst>
          </p:cNvPr>
          <p:cNvCxnSpPr>
            <a:cxnSpLocks/>
            <a:stCxn id="18" idx="0"/>
          </p:cNvCxnSpPr>
          <p:nvPr userDrawn="1"/>
        </p:nvCxnSpPr>
        <p:spPr>
          <a:xfrm flipH="1" flipV="1">
            <a:off x="2170221" y="3051024"/>
            <a:ext cx="3999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78">
            <a:extLst>
              <a:ext uri="{FF2B5EF4-FFF2-40B4-BE49-F238E27FC236}">
                <a16:creationId xmlns:a16="http://schemas.microsoft.com/office/drawing/2014/main" id="{7719A509-F9C9-1AC8-49EE-C65C6A029EB2}"/>
              </a:ext>
            </a:extLst>
          </p:cNvPr>
          <p:cNvSpPr/>
          <p:nvPr userDrawn="1"/>
        </p:nvSpPr>
        <p:spPr>
          <a:xfrm>
            <a:off x="252579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4" name="Straight Connector 90">
            <a:extLst>
              <a:ext uri="{FF2B5EF4-FFF2-40B4-BE49-F238E27FC236}">
                <a16:creationId xmlns:a16="http://schemas.microsoft.com/office/drawing/2014/main" id="{63DE49AE-E37E-A88C-2A18-E985E13B43DE}"/>
              </a:ext>
            </a:extLst>
          </p:cNvPr>
          <p:cNvCxnSpPr>
            <a:cxnSpLocks/>
          </p:cNvCxnSpPr>
          <p:nvPr userDrawn="1"/>
        </p:nvCxnSpPr>
        <p:spPr>
          <a:xfrm flipV="1">
            <a:off x="2596110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77">
            <a:extLst>
              <a:ext uri="{FF2B5EF4-FFF2-40B4-BE49-F238E27FC236}">
                <a16:creationId xmlns:a16="http://schemas.microsoft.com/office/drawing/2014/main" id="{5BF63822-6189-64F7-D642-41271697695F}"/>
              </a:ext>
            </a:extLst>
          </p:cNvPr>
          <p:cNvSpPr/>
          <p:nvPr userDrawn="1"/>
        </p:nvSpPr>
        <p:spPr>
          <a:xfrm>
            <a:off x="3531053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9" name="Straight Connector 83">
            <a:extLst>
              <a:ext uri="{FF2B5EF4-FFF2-40B4-BE49-F238E27FC236}">
                <a16:creationId xmlns:a16="http://schemas.microsoft.com/office/drawing/2014/main" id="{5B6A9C1B-9280-7703-67F2-50F9B1F49396}"/>
              </a:ext>
            </a:extLst>
          </p:cNvPr>
          <p:cNvCxnSpPr>
            <a:cxnSpLocks/>
          </p:cNvCxnSpPr>
          <p:nvPr userDrawn="1"/>
        </p:nvCxnSpPr>
        <p:spPr>
          <a:xfrm flipV="1">
            <a:off x="3601371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78">
            <a:extLst>
              <a:ext uri="{FF2B5EF4-FFF2-40B4-BE49-F238E27FC236}">
                <a16:creationId xmlns:a16="http://schemas.microsoft.com/office/drawing/2014/main" id="{07B0754B-FB43-44DB-0C2B-D1FA99554E8F}"/>
              </a:ext>
            </a:extLst>
          </p:cNvPr>
          <p:cNvSpPr/>
          <p:nvPr userDrawn="1"/>
        </p:nvSpPr>
        <p:spPr>
          <a:xfrm>
            <a:off x="3814665" y="3869230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5" name="Straight Connector 90">
            <a:extLst>
              <a:ext uri="{FF2B5EF4-FFF2-40B4-BE49-F238E27FC236}">
                <a16:creationId xmlns:a16="http://schemas.microsoft.com/office/drawing/2014/main" id="{6642C73F-1DEA-713F-5656-C585E973F73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47161" y="3937473"/>
            <a:ext cx="0" cy="755876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78">
            <a:extLst>
              <a:ext uri="{FF2B5EF4-FFF2-40B4-BE49-F238E27FC236}">
                <a16:creationId xmlns:a16="http://schemas.microsoft.com/office/drawing/2014/main" id="{AF62D512-70F2-9E69-0C4C-DB89036A3716}"/>
              </a:ext>
            </a:extLst>
          </p:cNvPr>
          <p:cNvSpPr/>
          <p:nvPr userDrawn="1"/>
        </p:nvSpPr>
        <p:spPr>
          <a:xfrm>
            <a:off x="4051347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7" name="Straight Connector 90">
            <a:extLst>
              <a:ext uri="{FF2B5EF4-FFF2-40B4-BE49-F238E27FC236}">
                <a16:creationId xmlns:a16="http://schemas.microsoft.com/office/drawing/2014/main" id="{E1FE15E2-4BF9-AAE2-9756-742282D58810}"/>
              </a:ext>
            </a:extLst>
          </p:cNvPr>
          <p:cNvCxnSpPr>
            <a:cxnSpLocks/>
          </p:cNvCxnSpPr>
          <p:nvPr userDrawn="1"/>
        </p:nvCxnSpPr>
        <p:spPr>
          <a:xfrm flipV="1">
            <a:off x="4083844" y="3937469"/>
            <a:ext cx="0" cy="323618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78">
            <a:extLst>
              <a:ext uri="{FF2B5EF4-FFF2-40B4-BE49-F238E27FC236}">
                <a16:creationId xmlns:a16="http://schemas.microsoft.com/office/drawing/2014/main" id="{3CE8B75A-B331-7E25-7B64-975AEFA7EEA6}"/>
              </a:ext>
            </a:extLst>
          </p:cNvPr>
          <p:cNvSpPr/>
          <p:nvPr userDrawn="1"/>
        </p:nvSpPr>
        <p:spPr>
          <a:xfrm>
            <a:off x="4758991" y="3869232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3" name="Straight Connector 90">
            <a:extLst>
              <a:ext uri="{FF2B5EF4-FFF2-40B4-BE49-F238E27FC236}">
                <a16:creationId xmlns:a16="http://schemas.microsoft.com/office/drawing/2014/main" id="{F94247D0-E9D7-D30A-1630-E0D6E4E3E4F2}"/>
              </a:ext>
            </a:extLst>
          </p:cNvPr>
          <p:cNvCxnSpPr>
            <a:cxnSpLocks/>
          </p:cNvCxnSpPr>
          <p:nvPr userDrawn="1"/>
        </p:nvCxnSpPr>
        <p:spPr>
          <a:xfrm flipV="1">
            <a:off x="4791487" y="3915592"/>
            <a:ext cx="1625" cy="61637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78">
            <a:extLst>
              <a:ext uri="{FF2B5EF4-FFF2-40B4-BE49-F238E27FC236}">
                <a16:creationId xmlns:a16="http://schemas.microsoft.com/office/drawing/2014/main" id="{7E13C692-95BB-800A-EC74-449A422336D9}"/>
              </a:ext>
            </a:extLst>
          </p:cNvPr>
          <p:cNvSpPr/>
          <p:nvPr userDrawn="1"/>
        </p:nvSpPr>
        <p:spPr>
          <a:xfrm>
            <a:off x="5520779" y="3869227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5" name="Straight Connector 90">
            <a:extLst>
              <a:ext uri="{FF2B5EF4-FFF2-40B4-BE49-F238E27FC236}">
                <a16:creationId xmlns:a16="http://schemas.microsoft.com/office/drawing/2014/main" id="{F9565BFB-A0FC-0E69-B88F-43C259C8D4F7}"/>
              </a:ext>
            </a:extLst>
          </p:cNvPr>
          <p:cNvCxnSpPr>
            <a:cxnSpLocks/>
            <a:endCxn id="44" idx="4"/>
          </p:cNvCxnSpPr>
          <p:nvPr userDrawn="1"/>
        </p:nvCxnSpPr>
        <p:spPr>
          <a:xfrm flipV="1">
            <a:off x="5553275" y="3937470"/>
            <a:ext cx="1626" cy="52378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77">
            <a:extLst>
              <a:ext uri="{FF2B5EF4-FFF2-40B4-BE49-F238E27FC236}">
                <a16:creationId xmlns:a16="http://schemas.microsoft.com/office/drawing/2014/main" id="{80402DFC-B0E8-8CDB-341E-955069D3831E}"/>
              </a:ext>
            </a:extLst>
          </p:cNvPr>
          <p:cNvSpPr/>
          <p:nvPr userDrawn="1"/>
        </p:nvSpPr>
        <p:spPr>
          <a:xfrm>
            <a:off x="5213351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9" name="Straight Connector 83">
            <a:extLst>
              <a:ext uri="{FF2B5EF4-FFF2-40B4-BE49-F238E27FC236}">
                <a16:creationId xmlns:a16="http://schemas.microsoft.com/office/drawing/2014/main" id="{15AC8A43-CD5A-4CBE-C323-69A3D9B3B4C3}"/>
              </a:ext>
            </a:extLst>
          </p:cNvPr>
          <p:cNvCxnSpPr>
            <a:cxnSpLocks/>
          </p:cNvCxnSpPr>
          <p:nvPr userDrawn="1"/>
        </p:nvCxnSpPr>
        <p:spPr>
          <a:xfrm flipV="1">
            <a:off x="5283669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78">
            <a:extLst>
              <a:ext uri="{FF2B5EF4-FFF2-40B4-BE49-F238E27FC236}">
                <a16:creationId xmlns:a16="http://schemas.microsoft.com/office/drawing/2014/main" id="{20A7E88E-EF43-F17D-8911-FCED790C6A68}"/>
              </a:ext>
            </a:extLst>
          </p:cNvPr>
          <p:cNvSpPr/>
          <p:nvPr userDrawn="1"/>
        </p:nvSpPr>
        <p:spPr>
          <a:xfrm>
            <a:off x="623766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3" name="Straight Connector 90">
            <a:extLst>
              <a:ext uri="{FF2B5EF4-FFF2-40B4-BE49-F238E27FC236}">
                <a16:creationId xmlns:a16="http://schemas.microsoft.com/office/drawing/2014/main" id="{0368F257-466C-40E3-95A8-A2897071B4E7}"/>
              </a:ext>
            </a:extLst>
          </p:cNvPr>
          <p:cNvCxnSpPr>
            <a:cxnSpLocks/>
          </p:cNvCxnSpPr>
          <p:nvPr userDrawn="1"/>
        </p:nvCxnSpPr>
        <p:spPr>
          <a:xfrm flipV="1">
            <a:off x="6307987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77">
            <a:extLst>
              <a:ext uri="{FF2B5EF4-FFF2-40B4-BE49-F238E27FC236}">
                <a16:creationId xmlns:a16="http://schemas.microsoft.com/office/drawing/2014/main" id="{37904B91-4D48-DB2C-0CB1-DF9EFDCF1892}"/>
              </a:ext>
            </a:extLst>
          </p:cNvPr>
          <p:cNvSpPr/>
          <p:nvPr userDrawn="1"/>
        </p:nvSpPr>
        <p:spPr>
          <a:xfrm>
            <a:off x="7388835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7" name="Straight Connector 83">
            <a:extLst>
              <a:ext uri="{FF2B5EF4-FFF2-40B4-BE49-F238E27FC236}">
                <a16:creationId xmlns:a16="http://schemas.microsoft.com/office/drawing/2014/main" id="{754BF086-5A03-8868-4B2A-A18817D790A2}"/>
              </a:ext>
            </a:extLst>
          </p:cNvPr>
          <p:cNvCxnSpPr>
            <a:cxnSpLocks/>
            <a:stCxn id="56" idx="0"/>
          </p:cNvCxnSpPr>
          <p:nvPr userDrawn="1"/>
        </p:nvCxnSpPr>
        <p:spPr>
          <a:xfrm flipH="1" flipV="1">
            <a:off x="7457617" y="3051024"/>
            <a:ext cx="5052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78">
            <a:extLst>
              <a:ext uri="{FF2B5EF4-FFF2-40B4-BE49-F238E27FC236}">
                <a16:creationId xmlns:a16="http://schemas.microsoft.com/office/drawing/2014/main" id="{1ED6159C-0A66-E2AB-091D-081ADB041E8D}"/>
              </a:ext>
            </a:extLst>
          </p:cNvPr>
          <p:cNvSpPr/>
          <p:nvPr userDrawn="1"/>
        </p:nvSpPr>
        <p:spPr>
          <a:xfrm rot="10800000">
            <a:off x="6566722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2" name="Straight Connector 90">
            <a:extLst>
              <a:ext uri="{FF2B5EF4-FFF2-40B4-BE49-F238E27FC236}">
                <a16:creationId xmlns:a16="http://schemas.microsoft.com/office/drawing/2014/main" id="{BC8C6388-BCD3-B1EC-F1B8-A3FA40C1CB32}"/>
              </a:ext>
            </a:extLst>
          </p:cNvPr>
          <p:cNvCxnSpPr>
            <a:cxnSpLocks/>
            <a:endCxn id="61" idx="4"/>
          </p:cNvCxnSpPr>
          <p:nvPr userDrawn="1"/>
        </p:nvCxnSpPr>
        <p:spPr>
          <a:xfrm>
            <a:off x="6600843" y="3033383"/>
            <a:ext cx="0" cy="8358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val 78">
            <a:extLst>
              <a:ext uri="{FF2B5EF4-FFF2-40B4-BE49-F238E27FC236}">
                <a16:creationId xmlns:a16="http://schemas.microsoft.com/office/drawing/2014/main" id="{05747B54-D6D6-7D32-08FB-4567CD54C1A3}"/>
              </a:ext>
            </a:extLst>
          </p:cNvPr>
          <p:cNvSpPr/>
          <p:nvPr userDrawn="1"/>
        </p:nvSpPr>
        <p:spPr>
          <a:xfrm rot="10800000">
            <a:off x="6823581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6" name="Straight Connector 90">
            <a:extLst>
              <a:ext uri="{FF2B5EF4-FFF2-40B4-BE49-F238E27FC236}">
                <a16:creationId xmlns:a16="http://schemas.microsoft.com/office/drawing/2014/main" id="{2DF2D32C-3E2B-C7C7-39AF-55280DE3DEE2}"/>
              </a:ext>
            </a:extLst>
          </p:cNvPr>
          <p:cNvCxnSpPr>
            <a:cxnSpLocks/>
            <a:endCxn id="65" idx="4"/>
          </p:cNvCxnSpPr>
          <p:nvPr userDrawn="1"/>
        </p:nvCxnSpPr>
        <p:spPr>
          <a:xfrm>
            <a:off x="6856033" y="3412263"/>
            <a:ext cx="1670" cy="45696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78">
            <a:extLst>
              <a:ext uri="{FF2B5EF4-FFF2-40B4-BE49-F238E27FC236}">
                <a16:creationId xmlns:a16="http://schemas.microsoft.com/office/drawing/2014/main" id="{A6FADD64-EA73-2B0A-6396-6DF34201BC37}"/>
              </a:ext>
            </a:extLst>
          </p:cNvPr>
          <p:cNvSpPr/>
          <p:nvPr userDrawn="1"/>
        </p:nvSpPr>
        <p:spPr>
          <a:xfrm>
            <a:off x="7797207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0" name="Straight Connector 90">
            <a:extLst>
              <a:ext uri="{FF2B5EF4-FFF2-40B4-BE49-F238E27FC236}">
                <a16:creationId xmlns:a16="http://schemas.microsoft.com/office/drawing/2014/main" id="{E9D08FBA-8A24-3BE4-B596-451D4494A75D}"/>
              </a:ext>
            </a:extLst>
          </p:cNvPr>
          <p:cNvCxnSpPr>
            <a:cxnSpLocks/>
          </p:cNvCxnSpPr>
          <p:nvPr userDrawn="1"/>
        </p:nvCxnSpPr>
        <p:spPr>
          <a:xfrm flipV="1">
            <a:off x="7867525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78">
            <a:extLst>
              <a:ext uri="{FF2B5EF4-FFF2-40B4-BE49-F238E27FC236}">
                <a16:creationId xmlns:a16="http://schemas.microsoft.com/office/drawing/2014/main" id="{11B1DF5B-561A-445E-21B3-7A74E7F795B6}"/>
              </a:ext>
            </a:extLst>
          </p:cNvPr>
          <p:cNvSpPr/>
          <p:nvPr userDrawn="1"/>
        </p:nvSpPr>
        <p:spPr>
          <a:xfrm>
            <a:off x="7175233" y="3869228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4" name="Straight Connector 90">
            <a:extLst>
              <a:ext uri="{FF2B5EF4-FFF2-40B4-BE49-F238E27FC236}">
                <a16:creationId xmlns:a16="http://schemas.microsoft.com/office/drawing/2014/main" id="{03BBC850-16B8-F081-7C1B-D43B1373FD83}"/>
              </a:ext>
            </a:extLst>
          </p:cNvPr>
          <p:cNvCxnSpPr>
            <a:cxnSpLocks/>
            <a:endCxn id="73" idx="4"/>
          </p:cNvCxnSpPr>
          <p:nvPr userDrawn="1"/>
        </p:nvCxnSpPr>
        <p:spPr>
          <a:xfrm flipV="1">
            <a:off x="7209355" y="3937471"/>
            <a:ext cx="0" cy="65351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77">
            <a:extLst>
              <a:ext uri="{FF2B5EF4-FFF2-40B4-BE49-F238E27FC236}">
                <a16:creationId xmlns:a16="http://schemas.microsoft.com/office/drawing/2014/main" id="{E9A8B657-E61E-461A-0CB5-5928C8FCA212}"/>
              </a:ext>
            </a:extLst>
          </p:cNvPr>
          <p:cNvSpPr/>
          <p:nvPr userDrawn="1"/>
        </p:nvSpPr>
        <p:spPr>
          <a:xfrm>
            <a:off x="9032248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8" name="Straight Connector 83">
            <a:extLst>
              <a:ext uri="{FF2B5EF4-FFF2-40B4-BE49-F238E27FC236}">
                <a16:creationId xmlns:a16="http://schemas.microsoft.com/office/drawing/2014/main" id="{DB71CE7D-586F-4FCB-2D0B-6C9BEE61084A}"/>
              </a:ext>
            </a:extLst>
          </p:cNvPr>
          <p:cNvCxnSpPr>
            <a:cxnSpLocks/>
          </p:cNvCxnSpPr>
          <p:nvPr userDrawn="1"/>
        </p:nvCxnSpPr>
        <p:spPr>
          <a:xfrm flipV="1">
            <a:off x="9102566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78">
            <a:extLst>
              <a:ext uri="{FF2B5EF4-FFF2-40B4-BE49-F238E27FC236}">
                <a16:creationId xmlns:a16="http://schemas.microsoft.com/office/drawing/2014/main" id="{9BE998E6-0A0F-BCFA-3D2E-05903A68DB97}"/>
              </a:ext>
            </a:extLst>
          </p:cNvPr>
          <p:cNvSpPr/>
          <p:nvPr userDrawn="1"/>
        </p:nvSpPr>
        <p:spPr>
          <a:xfrm>
            <a:off x="8779687" y="3869228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82" name="Straight Connector 90">
            <a:extLst>
              <a:ext uri="{FF2B5EF4-FFF2-40B4-BE49-F238E27FC236}">
                <a16:creationId xmlns:a16="http://schemas.microsoft.com/office/drawing/2014/main" id="{A0E554AA-F4D0-019C-2534-E86975BB5B0C}"/>
              </a:ext>
            </a:extLst>
          </p:cNvPr>
          <p:cNvCxnSpPr>
            <a:cxnSpLocks/>
            <a:endCxn id="81" idx="4"/>
          </p:cNvCxnSpPr>
          <p:nvPr userDrawn="1"/>
        </p:nvCxnSpPr>
        <p:spPr>
          <a:xfrm flipV="1">
            <a:off x="8813809" y="3937471"/>
            <a:ext cx="0" cy="590512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78">
            <a:extLst>
              <a:ext uri="{FF2B5EF4-FFF2-40B4-BE49-F238E27FC236}">
                <a16:creationId xmlns:a16="http://schemas.microsoft.com/office/drawing/2014/main" id="{B2172F26-914F-B47C-9501-9E6BB191E98A}"/>
              </a:ext>
            </a:extLst>
          </p:cNvPr>
          <p:cNvSpPr/>
          <p:nvPr userDrawn="1"/>
        </p:nvSpPr>
        <p:spPr>
          <a:xfrm>
            <a:off x="9463286" y="3832582"/>
            <a:ext cx="147669" cy="147668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86" name="Straight Connector 90">
            <a:extLst>
              <a:ext uri="{FF2B5EF4-FFF2-40B4-BE49-F238E27FC236}">
                <a16:creationId xmlns:a16="http://schemas.microsoft.com/office/drawing/2014/main" id="{D67CB719-3218-1861-7EB3-37873E9A439D}"/>
              </a:ext>
            </a:extLst>
          </p:cNvPr>
          <p:cNvCxnSpPr>
            <a:cxnSpLocks/>
          </p:cNvCxnSpPr>
          <p:nvPr userDrawn="1"/>
        </p:nvCxnSpPr>
        <p:spPr>
          <a:xfrm flipV="1">
            <a:off x="9533604" y="3980251"/>
            <a:ext cx="0" cy="72541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77">
            <a:extLst>
              <a:ext uri="{FF2B5EF4-FFF2-40B4-BE49-F238E27FC236}">
                <a16:creationId xmlns:a16="http://schemas.microsoft.com/office/drawing/2014/main" id="{BB2A97FA-519E-5C83-2D2F-D0538BDD57CE}"/>
              </a:ext>
            </a:extLst>
          </p:cNvPr>
          <p:cNvSpPr/>
          <p:nvPr userDrawn="1"/>
        </p:nvSpPr>
        <p:spPr>
          <a:xfrm>
            <a:off x="1043217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90" name="Straight Connector 83">
            <a:extLst>
              <a:ext uri="{FF2B5EF4-FFF2-40B4-BE49-F238E27FC236}">
                <a16:creationId xmlns:a16="http://schemas.microsoft.com/office/drawing/2014/main" id="{4361B724-FB9B-2DF5-C6C0-FBB11DE3E9C0}"/>
              </a:ext>
            </a:extLst>
          </p:cNvPr>
          <p:cNvCxnSpPr>
            <a:cxnSpLocks/>
          </p:cNvCxnSpPr>
          <p:nvPr userDrawn="1"/>
        </p:nvCxnSpPr>
        <p:spPr>
          <a:xfrm flipV="1">
            <a:off x="10502490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Pladsholder til tekst 94">
            <a:extLst>
              <a:ext uri="{FF2B5EF4-FFF2-40B4-BE49-F238E27FC236}">
                <a16:creationId xmlns:a16="http://schemas.microsoft.com/office/drawing/2014/main" id="{A7AD2613-F096-2928-0815-4CF768F94D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229" y="3143938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58643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Pladsholder til tekst 94">
            <a:extLst>
              <a:ext uri="{FF2B5EF4-FFF2-40B4-BE49-F238E27FC236}">
                <a16:creationId xmlns:a16="http://schemas.microsoft.com/office/drawing/2014/main" id="{3DCDFF49-89C3-758A-5EC1-390443F72A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31602" y="3083751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8" name="Pladsholder til tekst 94">
            <a:extLst>
              <a:ext uri="{FF2B5EF4-FFF2-40B4-BE49-F238E27FC236}">
                <a16:creationId xmlns:a16="http://schemas.microsoft.com/office/drawing/2014/main" id="{F24BF887-4840-ABCA-D93A-E56DF81901C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31968" y="3442588"/>
            <a:ext cx="1358076" cy="352810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46" name="Pladsholder til billede 98">
            <a:extLst>
              <a:ext uri="{FF2B5EF4-FFF2-40B4-BE49-F238E27FC236}">
                <a16:creationId xmlns:a16="http://schemas.microsoft.com/office/drawing/2014/main" id="{BBB9893B-00B3-D419-D74C-96DE6C98AF3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7939335" y="2412195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43" name="Pladsholder til tekst 94">
            <a:extLst>
              <a:ext uri="{FF2B5EF4-FFF2-40B4-BE49-F238E27FC236}">
                <a16:creationId xmlns:a16="http://schemas.microsoft.com/office/drawing/2014/main" id="{78292749-C129-3DF2-3D41-AB8E4962ECC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26982" y="438444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4" name="Pladsholder til tekst 94">
            <a:extLst>
              <a:ext uri="{FF2B5EF4-FFF2-40B4-BE49-F238E27FC236}">
                <a16:creationId xmlns:a16="http://schemas.microsoft.com/office/drawing/2014/main" id="{0A6EED5A-0A80-D453-116E-58BC851A2AA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27348" y="4743284"/>
            <a:ext cx="1350414" cy="444653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2" name="Pladsholder til billede 98">
            <a:extLst>
              <a:ext uri="{FF2B5EF4-FFF2-40B4-BE49-F238E27FC236}">
                <a16:creationId xmlns:a16="http://schemas.microsoft.com/office/drawing/2014/main" id="{A0430362-5C0F-69C4-593E-2CFEA50B54A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780443" y="4377910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7" name="Pladsholder til tekst 94">
            <a:extLst>
              <a:ext uri="{FF2B5EF4-FFF2-40B4-BE49-F238E27FC236}">
                <a16:creationId xmlns:a16="http://schemas.microsoft.com/office/drawing/2014/main" id="{BA2E7FF0-FD00-2734-FB8C-79750019E9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15268" y="2910027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98" name="Pladsholder til tekst 94">
            <a:extLst>
              <a:ext uri="{FF2B5EF4-FFF2-40B4-BE49-F238E27FC236}">
                <a16:creationId xmlns:a16="http://schemas.microsoft.com/office/drawing/2014/main" id="{B7CE2320-BE4C-FB9C-B98D-32E626CB83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15634" y="3268863"/>
            <a:ext cx="1350414" cy="444653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4" name="Pladsholder til billede 98">
            <a:extLst>
              <a:ext uri="{FF2B5EF4-FFF2-40B4-BE49-F238E27FC236}">
                <a16:creationId xmlns:a16="http://schemas.microsoft.com/office/drawing/2014/main" id="{42110B56-4AC7-F645-C0A7-FBCB9F82597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06185" y="1924154"/>
            <a:ext cx="856668" cy="856669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2" name="Pladsholder til tekst 94">
            <a:extLst>
              <a:ext uri="{FF2B5EF4-FFF2-40B4-BE49-F238E27FC236}">
                <a16:creationId xmlns:a16="http://schemas.microsoft.com/office/drawing/2014/main" id="{E04FD2B3-CC71-0C18-8B62-E9F360AD06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28756" y="4457094"/>
            <a:ext cx="957623" cy="384175"/>
          </a:xfrm>
        </p:spPr>
        <p:txBody>
          <a:bodyPr/>
          <a:lstStyle>
            <a:lvl1pPr marL="0" indent="0">
              <a:buNone/>
              <a:defRPr sz="16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93" name="Pladsholder til tekst 94">
            <a:extLst>
              <a:ext uri="{FF2B5EF4-FFF2-40B4-BE49-F238E27FC236}">
                <a16:creationId xmlns:a16="http://schemas.microsoft.com/office/drawing/2014/main" id="{A93DB4D1-1E3C-F1EE-0139-06416B2DCB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29122" y="4728205"/>
            <a:ext cx="1445508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1" name="Pladsholder til billede 98">
            <a:extLst>
              <a:ext uri="{FF2B5EF4-FFF2-40B4-BE49-F238E27FC236}">
                <a16:creationId xmlns:a16="http://schemas.microsoft.com/office/drawing/2014/main" id="{CDAFC1C1-84B8-55C6-B79C-8E01857E46D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966368" y="4761629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87" name="Pladsholder til tekst 94">
            <a:extLst>
              <a:ext uri="{FF2B5EF4-FFF2-40B4-BE49-F238E27FC236}">
                <a16:creationId xmlns:a16="http://schemas.microsoft.com/office/drawing/2014/main" id="{3693C6F0-AF64-9D87-0087-9510EE9A66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298" y="3090951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88" name="Pladsholder til tekst 94">
            <a:extLst>
              <a:ext uri="{FF2B5EF4-FFF2-40B4-BE49-F238E27FC236}">
                <a16:creationId xmlns:a16="http://schemas.microsoft.com/office/drawing/2014/main" id="{D3220D04-7293-9A76-8853-8BD2080C3A6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83664" y="3449788"/>
            <a:ext cx="1627492" cy="345610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84" name="Pladsholder til billede 98">
            <a:extLst>
              <a:ext uri="{FF2B5EF4-FFF2-40B4-BE49-F238E27FC236}">
                <a16:creationId xmlns:a16="http://schemas.microsoft.com/office/drawing/2014/main" id="{C6314243-D540-B134-E109-1E1D9620242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120370" y="2399836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80" name="Pladsholder til tekst 94">
            <a:extLst>
              <a:ext uri="{FF2B5EF4-FFF2-40B4-BE49-F238E27FC236}">
                <a16:creationId xmlns:a16="http://schemas.microsoft.com/office/drawing/2014/main" id="{0EEB661F-DDD0-BD09-C336-9269826E69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9516" y="409825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83" name="Pladsholder til tekst 94">
            <a:extLst>
              <a:ext uri="{FF2B5EF4-FFF2-40B4-BE49-F238E27FC236}">
                <a16:creationId xmlns:a16="http://schemas.microsoft.com/office/drawing/2014/main" id="{A9CB8E21-5517-42DF-376F-798DDCECED6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19882" y="4457094"/>
            <a:ext cx="1445508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76" name="Pladsholder til tekst 94">
            <a:extLst>
              <a:ext uri="{FF2B5EF4-FFF2-40B4-BE49-F238E27FC236}">
                <a16:creationId xmlns:a16="http://schemas.microsoft.com/office/drawing/2014/main" id="{2072149E-4743-648A-69DD-199D3AA79E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44235" y="280734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79" name="Pladsholder til tekst 94">
            <a:extLst>
              <a:ext uri="{FF2B5EF4-FFF2-40B4-BE49-F238E27FC236}">
                <a16:creationId xmlns:a16="http://schemas.microsoft.com/office/drawing/2014/main" id="{776BCBC2-5EC0-2381-AFE3-60F48287D82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44601" y="3166176"/>
            <a:ext cx="1479819" cy="547347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cxnSp>
        <p:nvCxnSpPr>
          <p:cNvPr id="14" name="Straight Connector 76">
            <a:extLst>
              <a:ext uri="{FF2B5EF4-FFF2-40B4-BE49-F238E27FC236}">
                <a16:creationId xmlns:a16="http://schemas.microsoft.com/office/drawing/2014/main" id="{3B6C5347-56E2-D0B6-AD91-77C1B451EEDE}"/>
              </a:ext>
            </a:extLst>
          </p:cNvPr>
          <p:cNvCxnSpPr>
            <a:cxnSpLocks/>
          </p:cNvCxnSpPr>
          <p:nvPr/>
        </p:nvCxnSpPr>
        <p:spPr>
          <a:xfrm flipH="1">
            <a:off x="2382841" y="3906418"/>
            <a:ext cx="7476717" cy="0"/>
          </a:xfrm>
          <a:prstGeom prst="line">
            <a:avLst/>
          </a:prstGeom>
          <a:ln w="15875" cap="flat" cmpd="sng">
            <a:solidFill>
              <a:schemeClr val="accent3"/>
            </a:solidFill>
            <a:prstDash val="solid"/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77">
            <a:extLst>
              <a:ext uri="{FF2B5EF4-FFF2-40B4-BE49-F238E27FC236}">
                <a16:creationId xmlns:a16="http://schemas.microsoft.com/office/drawing/2014/main" id="{7B58CECD-CA37-1AC6-6DEE-21FAE04CFAAA}"/>
              </a:ext>
            </a:extLst>
          </p:cNvPr>
          <p:cNvSpPr/>
          <p:nvPr/>
        </p:nvSpPr>
        <p:spPr>
          <a:xfrm>
            <a:off x="2326586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6" name="Straight Connector 83">
            <a:extLst>
              <a:ext uri="{FF2B5EF4-FFF2-40B4-BE49-F238E27FC236}">
                <a16:creationId xmlns:a16="http://schemas.microsoft.com/office/drawing/2014/main" id="{F432AF86-C3E3-2C6D-BB45-7BC1320AFEFF}"/>
              </a:ext>
            </a:extLst>
          </p:cNvPr>
          <p:cNvCxnSpPr>
            <a:cxnSpLocks/>
          </p:cNvCxnSpPr>
          <p:nvPr/>
        </p:nvCxnSpPr>
        <p:spPr>
          <a:xfrm flipV="1">
            <a:off x="2396904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78">
            <a:extLst>
              <a:ext uri="{FF2B5EF4-FFF2-40B4-BE49-F238E27FC236}">
                <a16:creationId xmlns:a16="http://schemas.microsoft.com/office/drawing/2014/main" id="{DFAF8C5D-D72C-53EF-1C76-22002B6BFA78}"/>
              </a:ext>
            </a:extLst>
          </p:cNvPr>
          <p:cNvSpPr/>
          <p:nvPr/>
        </p:nvSpPr>
        <p:spPr>
          <a:xfrm>
            <a:off x="3197908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1" name="Straight Connector 90">
            <a:extLst>
              <a:ext uri="{FF2B5EF4-FFF2-40B4-BE49-F238E27FC236}">
                <a16:creationId xmlns:a16="http://schemas.microsoft.com/office/drawing/2014/main" id="{8001A90C-6F49-6EDB-1F7A-8A08D3918507}"/>
              </a:ext>
            </a:extLst>
          </p:cNvPr>
          <p:cNvCxnSpPr>
            <a:cxnSpLocks/>
          </p:cNvCxnSpPr>
          <p:nvPr/>
        </p:nvCxnSpPr>
        <p:spPr>
          <a:xfrm flipV="1">
            <a:off x="3268226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79">
            <a:extLst>
              <a:ext uri="{FF2B5EF4-FFF2-40B4-BE49-F238E27FC236}">
                <a16:creationId xmlns:a16="http://schemas.microsoft.com/office/drawing/2014/main" id="{2B704F94-D60E-6055-5BB0-5C99A866A914}"/>
              </a:ext>
            </a:extLst>
          </p:cNvPr>
          <p:cNvSpPr/>
          <p:nvPr/>
        </p:nvSpPr>
        <p:spPr>
          <a:xfrm>
            <a:off x="436060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1" name="Straight Connector 93">
            <a:extLst>
              <a:ext uri="{FF2B5EF4-FFF2-40B4-BE49-F238E27FC236}">
                <a16:creationId xmlns:a16="http://schemas.microsoft.com/office/drawing/2014/main" id="{B2CD08D4-73F4-3250-60C2-6DD439334EC5}"/>
              </a:ext>
            </a:extLst>
          </p:cNvPr>
          <p:cNvCxnSpPr>
            <a:cxnSpLocks/>
            <a:stCxn id="30" idx="0"/>
          </p:cNvCxnSpPr>
          <p:nvPr/>
        </p:nvCxnSpPr>
        <p:spPr>
          <a:xfrm flipH="1" flipV="1">
            <a:off x="4430437" y="3051024"/>
            <a:ext cx="3999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78">
            <a:extLst>
              <a:ext uri="{FF2B5EF4-FFF2-40B4-BE49-F238E27FC236}">
                <a16:creationId xmlns:a16="http://schemas.microsoft.com/office/drawing/2014/main" id="{C7861A48-3508-EB2B-92E9-7CF290CA24C2}"/>
              </a:ext>
            </a:extLst>
          </p:cNvPr>
          <p:cNvSpPr/>
          <p:nvPr/>
        </p:nvSpPr>
        <p:spPr>
          <a:xfrm>
            <a:off x="5043629" y="3869230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6" name="Straight Connector 90">
            <a:extLst>
              <a:ext uri="{FF2B5EF4-FFF2-40B4-BE49-F238E27FC236}">
                <a16:creationId xmlns:a16="http://schemas.microsoft.com/office/drawing/2014/main" id="{74FE2199-0007-CF68-E13F-25F1D9CC6A7D}"/>
              </a:ext>
            </a:extLst>
          </p:cNvPr>
          <p:cNvCxnSpPr>
            <a:cxnSpLocks/>
          </p:cNvCxnSpPr>
          <p:nvPr/>
        </p:nvCxnSpPr>
        <p:spPr>
          <a:xfrm flipV="1">
            <a:off x="5076125" y="3937473"/>
            <a:ext cx="0" cy="1149531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77">
            <a:extLst>
              <a:ext uri="{FF2B5EF4-FFF2-40B4-BE49-F238E27FC236}">
                <a16:creationId xmlns:a16="http://schemas.microsoft.com/office/drawing/2014/main" id="{38D940DD-DFAF-0177-71C9-C8A0CFB64DE0}"/>
              </a:ext>
            </a:extLst>
          </p:cNvPr>
          <p:cNvSpPr/>
          <p:nvPr/>
        </p:nvSpPr>
        <p:spPr>
          <a:xfrm>
            <a:off x="8170604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0" name="Straight Connector 83">
            <a:extLst>
              <a:ext uri="{FF2B5EF4-FFF2-40B4-BE49-F238E27FC236}">
                <a16:creationId xmlns:a16="http://schemas.microsoft.com/office/drawing/2014/main" id="{2D5BF45A-F1B8-8628-8D34-01B284F4FC0F}"/>
              </a:ext>
            </a:extLst>
          </p:cNvPr>
          <p:cNvCxnSpPr>
            <a:cxnSpLocks/>
            <a:stCxn id="47" idx="0"/>
          </p:cNvCxnSpPr>
          <p:nvPr/>
        </p:nvCxnSpPr>
        <p:spPr>
          <a:xfrm flipH="1" flipV="1">
            <a:off x="8239386" y="3051024"/>
            <a:ext cx="5052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77">
            <a:extLst>
              <a:ext uri="{FF2B5EF4-FFF2-40B4-BE49-F238E27FC236}">
                <a16:creationId xmlns:a16="http://schemas.microsoft.com/office/drawing/2014/main" id="{6806D108-2A65-F6BB-6140-06C43ACEB52A}"/>
              </a:ext>
            </a:extLst>
          </p:cNvPr>
          <p:cNvSpPr/>
          <p:nvPr/>
        </p:nvSpPr>
        <p:spPr>
          <a:xfrm>
            <a:off x="646420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5" name="Straight Connector 83">
            <a:extLst>
              <a:ext uri="{FF2B5EF4-FFF2-40B4-BE49-F238E27FC236}">
                <a16:creationId xmlns:a16="http://schemas.microsoft.com/office/drawing/2014/main" id="{2E8FD35D-2D7A-D408-96F6-B4C61233A16F}"/>
              </a:ext>
            </a:extLst>
          </p:cNvPr>
          <p:cNvCxnSpPr>
            <a:cxnSpLocks/>
          </p:cNvCxnSpPr>
          <p:nvPr/>
        </p:nvCxnSpPr>
        <p:spPr>
          <a:xfrm flipV="1">
            <a:off x="6534520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78">
            <a:extLst>
              <a:ext uri="{FF2B5EF4-FFF2-40B4-BE49-F238E27FC236}">
                <a16:creationId xmlns:a16="http://schemas.microsoft.com/office/drawing/2014/main" id="{0108EFA9-F3B8-4CFA-B7E1-B00A9C20893E}"/>
              </a:ext>
            </a:extLst>
          </p:cNvPr>
          <p:cNvSpPr/>
          <p:nvPr/>
        </p:nvSpPr>
        <p:spPr>
          <a:xfrm>
            <a:off x="701905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4" name="Straight Connector 90">
            <a:extLst>
              <a:ext uri="{FF2B5EF4-FFF2-40B4-BE49-F238E27FC236}">
                <a16:creationId xmlns:a16="http://schemas.microsoft.com/office/drawing/2014/main" id="{493844BF-4F9D-A2B1-2B36-0854260B8BE2}"/>
              </a:ext>
            </a:extLst>
          </p:cNvPr>
          <p:cNvCxnSpPr>
            <a:cxnSpLocks/>
          </p:cNvCxnSpPr>
          <p:nvPr/>
        </p:nvCxnSpPr>
        <p:spPr>
          <a:xfrm flipV="1">
            <a:off x="7089377" y="3980252"/>
            <a:ext cx="0" cy="35422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198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34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C7F763-DBC6-9E35-743C-743205EC41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C1833DA5-F567-D683-F23A-9F6EE5BA01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50C40DD-8B77-A707-BF14-E24423A532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1-0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93E6AAC-4FD1-95D3-0325-34B8EDA821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B997C34-F965-DDDC-6C5B-C152027FE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820241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908E27-7E4A-076E-102C-AE9FEF57F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9289079-1EF5-3E59-11EC-BAA62CBE90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87CD310-76CD-8CC4-CF84-0B4A63C73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1-0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B681076-26CD-0673-9D3B-D912D3036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41132D1-6FF5-620D-EB2E-B9EE4D6C5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90884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ABF79C-8840-CBD1-912D-7E0CB8F70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0A1FBF7-4ED8-A34A-8DB2-4F6157EB8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B9F13FE-C2D5-0BD8-C37C-964DF73DF6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1-0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EB6F68C-2CBF-4AA3-B9E7-F52D5E31A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336DFAE-2C35-61DD-656E-97C6ADC32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837808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57BC1A-62E3-8E19-D0B4-778F4A6FA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F5BE81F-FB27-98EA-3DDE-8F0024E72D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14C5314-7097-0ED6-52D8-F264885AA5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35C54B8-101A-AFDC-BDD1-67D1BE6A1A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1-0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41982A14-77F2-C735-9056-07787E0EA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68C7333-099E-BD02-C2A9-BAF70545B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14933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7B2423-316A-1A13-6D74-5BD6DD561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D9E766A-CC7F-8C70-8C90-256646B5F0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ABBF8816-E2E9-4278-A6B1-FBEFF24532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F2FFCF3-571F-9FBD-B306-A0BD3C91B9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7392B947-5D09-F96B-0071-1B05463B4C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82173EC6-ADB2-CCA0-8B5A-51F7E0EBB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1-01-2025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87F7B190-D413-9E3D-FCD5-2E51E25C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24E24117-2BD4-334D-38F8-4C861AC62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345207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9147AC-67A4-99F6-5CD8-46ED1BDC8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3FA9D22-0B07-9A5A-4F91-D7CD418F8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1-01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A34A4D1-AACF-B7F4-434E-533D1C20B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C6919E8-6507-C54B-FAEC-221AC15D5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390803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EDC3E29-155D-B863-B763-29AFAB6BE0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1-01-2025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5247E71-2086-592A-BADE-41BF43465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D7E457B-84BC-D91F-FF70-B7FC11B19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635081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AEEAA9-38E1-0B53-93E9-C1249B814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F9D13FB-6669-C6B6-E072-E30B9A5145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3E00472-33D5-FE4A-342D-5B9B27C954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6DBEA957-5C11-8BF9-4BC3-02DC15BC9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1-0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D3784E3-8394-A010-F0DC-B805A7EE6B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24D3F97-ED9F-0CF0-AC60-B80696F48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60732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ACD755-573D-19C3-9425-308286890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0F03D749-F6AB-87A6-8519-34F46104BB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DEF85A3-9760-20FC-8A4B-4CF811753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DFB72FD-C203-E8E9-F273-92BF20FF3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1-0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E211E2A-DE18-8765-974B-9C82DABE2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AA93263-CB68-D78C-2D80-F9024ED29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143844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958B41-0C6E-6FE1-7E48-F7EBE65C5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B5E42EDF-B4DA-E8FC-8D1F-FEB646CFD8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6DC67B5-C80B-82AC-4E9C-5557910F1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1-0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AFC65B3-E17F-357B-C833-55C3C6DE0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84CFB7-42F9-6834-9801-5717C3A5A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89801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41565A17-71D6-80B1-DD75-A0A50E7383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4D9A5094-2DFA-40F2-9689-4C3BF46E40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A6D5D2B-4332-054B-74B5-AD64F55EFC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1-0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C69FE49-3941-2BC3-BB8E-CFE0E5B95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F47DDD6-A6F2-2525-8171-B0E14D8B3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162854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EA5BEF5B-9DC4-192D-FEE0-588095A2FA3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5311301" y="2658893"/>
            <a:ext cx="6403225" cy="362121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2672072"/>
            <a:ext cx="4027724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367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4D86BCF4-A7BD-C4A3-F4E2-DDAC1E0AAD62}"/>
              </a:ext>
            </a:extLst>
          </p:cNvPr>
          <p:cNvSpPr/>
          <p:nvPr userDrawn="1"/>
        </p:nvSpPr>
        <p:spPr>
          <a:xfrm>
            <a:off x="1" y="6279964"/>
            <a:ext cx="12192000" cy="5780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/2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760" r:id="rId8"/>
    <p:sldLayoutId id="2147483652" r:id="rId9"/>
    <p:sldLayoutId id="2147483721" r:id="rId10"/>
    <p:sldLayoutId id="2147483739" r:id="rId11"/>
    <p:sldLayoutId id="2147483738" r:id="rId12"/>
    <p:sldLayoutId id="2147483724" r:id="rId13"/>
    <p:sldLayoutId id="2147483653" r:id="rId14"/>
    <p:sldLayoutId id="2147483723" r:id="rId15"/>
    <p:sldLayoutId id="2147483752" r:id="rId16"/>
    <p:sldLayoutId id="2147483753" r:id="rId17"/>
    <p:sldLayoutId id="2147483757" r:id="rId18"/>
    <p:sldLayoutId id="2147483756" r:id="rId19"/>
    <p:sldLayoutId id="2147483754" r:id="rId20"/>
    <p:sldLayoutId id="2147483654" r:id="rId21"/>
    <p:sldLayoutId id="2147483758" r:id="rId22"/>
    <p:sldLayoutId id="2147483759" r:id="rId23"/>
    <p:sldLayoutId id="2147483732" r:id="rId24"/>
    <p:sldLayoutId id="2147483731" r:id="rId25"/>
    <p:sldLayoutId id="2147483728" r:id="rId26"/>
    <p:sldLayoutId id="2147483736" r:id="rId27"/>
    <p:sldLayoutId id="2147483720" r:id="rId28"/>
    <p:sldLayoutId id="2147483761" r:id="rId2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v="urn:schemas-microsoft-com:vml" xmlns:p15="http://schemas.microsoft.com/office/powerpoint/2012/main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86049566-6887-A115-9321-0F156B2DB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6A1C2A9-B65F-F20C-9052-DEEE8F75F3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97D2475-0BEA-D11B-04A1-02185C0A2E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895364D-7055-3A45-B36C-A5D67327A59D}" type="datetimeFigureOut">
              <a:rPr lang="da-DK" smtClean="0"/>
              <a:t>21-0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4FDB27B-1AA3-529A-A2F5-1572465FD9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76943DD-536D-8D84-B662-ACD03B34C0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97552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14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ue and black gradient&#10;&#10;Description automatically generated">
            <a:extLst>
              <a:ext uri="{FF2B5EF4-FFF2-40B4-BE49-F238E27FC236}">
                <a16:creationId xmlns:a16="http://schemas.microsoft.com/office/drawing/2014/main" id="{5863A911-EC35-EDC7-0967-3726399FB6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98E2A6-F674-FCBF-DCF8-692E0F06E20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b="0" i="0"/>
              <a:t>BIZALMAS VÁLLALATI INFORMÁCIÓ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3FBF6A-A489-7381-5514-4A7E58918B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0A1BCF-7A05-D9D8-D9F5-4B7E7A2E982D}"/>
              </a:ext>
            </a:extLst>
          </p:cNvPr>
          <p:cNvSpPr txBox="1"/>
          <p:nvPr/>
        </p:nvSpPr>
        <p:spPr>
          <a:xfrm>
            <a:off x="479426" y="264288"/>
            <a:ext cx="9228454" cy="295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hu-HU" sz="9600" b="0" i="0" dirty="0">
                <a:solidFill>
                  <a:schemeClr val="bg1"/>
                </a:solidFill>
              </a:rPr>
              <a:t>Közösségi média</a:t>
            </a:r>
          </a:p>
          <a:p>
            <a:pPr algn="l"/>
            <a:r>
              <a:rPr lang="hu-HU" sz="9600" dirty="0">
                <a:solidFill>
                  <a:schemeClr val="bg1"/>
                </a:solidFill>
              </a:rPr>
              <a:t>posztok</a:t>
            </a:r>
            <a:endParaRPr lang="en-US" sz="9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59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AE007B2-9DDB-EE3A-6DC0-FAD352143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sz="1600" b="0" i="0">
                <a:latin typeface="+mn-lt"/>
              </a:rPr>
              <a:t>Dealer SoMe 01</a:t>
            </a:r>
            <a:endParaRPr lang="en-DK" sz="1600" b="0">
              <a:latin typeface="+mn-lt"/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1634420-3A01-6743-13A1-9A57DF69D97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b="0" i="0"/>
              <a:t>BIZALMAS VÁLLALATI INFORMÁCIÓK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83D22B9-A61B-98AC-39BD-F8B0BDBF5BA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2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A809F138-5B72-49D6-3CEA-4FE6BEE9BE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3" name="Tekstfelt 6">
            <a:extLst>
              <a:ext uri="{FF2B5EF4-FFF2-40B4-BE49-F238E27FC236}">
                <a16:creationId xmlns:a16="http://schemas.microsoft.com/office/drawing/2014/main" id="{79A687FE-4F4D-5628-8283-5B00B2642642}"/>
              </a:ext>
            </a:extLst>
          </p:cNvPr>
          <p:cNvSpPr txBox="1"/>
          <p:nvPr/>
        </p:nvSpPr>
        <p:spPr>
          <a:xfrm>
            <a:off x="4628823" y="2481108"/>
            <a:ext cx="1727187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sz="600" b="0" i="0" dirty="0" err="1">
                <a:effectLst/>
                <a:latin typeface="Arial"/>
                <a:cs typeface="Arial"/>
              </a:rPr>
              <a:t>Kombinálja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az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egyszerűséget</a:t>
            </a:r>
            <a:r>
              <a:rPr sz="600" b="0" i="0" dirty="0">
                <a:effectLst/>
                <a:latin typeface="Arial"/>
                <a:cs typeface="Arial"/>
              </a:rPr>
              <a:t> a </a:t>
            </a:r>
            <a:r>
              <a:rPr sz="600" b="0" i="0" dirty="0" err="1">
                <a:effectLst/>
                <a:latin typeface="Arial"/>
                <a:cs typeface="Arial"/>
              </a:rPr>
              <a:t>hatékonysággal</a:t>
            </a:r>
            <a:r>
              <a:rPr sz="600" b="0" i="0" dirty="0">
                <a:effectLst/>
                <a:latin typeface="Arial"/>
                <a:cs typeface="Arial"/>
              </a:rPr>
              <a:t>, </a:t>
            </a:r>
            <a:r>
              <a:rPr sz="600" b="0" i="0" dirty="0" err="1">
                <a:effectLst/>
                <a:latin typeface="Arial"/>
                <a:cs typeface="Arial"/>
              </a:rPr>
              <a:t>majd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adja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hozzá</a:t>
            </a:r>
            <a:r>
              <a:rPr sz="600" b="0" i="0" dirty="0">
                <a:effectLst/>
                <a:latin typeface="Arial"/>
                <a:cs typeface="Arial"/>
              </a:rPr>
              <a:t> a </a:t>
            </a:r>
            <a:r>
              <a:rPr sz="600" b="0" i="0" dirty="0" err="1">
                <a:effectLst/>
                <a:latin typeface="Arial"/>
                <a:cs typeface="Arial"/>
              </a:rPr>
              <a:t>kényelmet</a:t>
            </a:r>
            <a:r>
              <a:rPr sz="600" b="0" i="0" dirty="0">
                <a:effectLst/>
                <a:latin typeface="Arial"/>
                <a:cs typeface="Arial"/>
              </a:rPr>
              <a:t> – és </a:t>
            </a:r>
            <a:r>
              <a:rPr sz="600" b="0" i="0" dirty="0" err="1">
                <a:effectLst/>
                <a:latin typeface="Arial"/>
                <a:cs typeface="Arial"/>
              </a:rPr>
              <a:t>készen</a:t>
            </a:r>
            <a:r>
              <a:rPr sz="600" b="0" i="0" dirty="0">
                <a:effectLst/>
                <a:latin typeface="Arial"/>
                <a:cs typeface="Arial"/>
              </a:rPr>
              <a:t> is van: </a:t>
            </a:r>
            <a:r>
              <a:rPr sz="600" b="0" i="0" dirty="0" err="1">
                <a:effectLst/>
                <a:latin typeface="Arial"/>
                <a:cs typeface="Arial"/>
              </a:rPr>
              <a:t>egy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új</a:t>
            </a:r>
            <a:r>
              <a:rPr sz="600" b="0" i="0" dirty="0">
                <a:effectLst/>
                <a:latin typeface="Arial"/>
                <a:cs typeface="Arial"/>
              </a:rPr>
              <a:t> formula </a:t>
            </a:r>
            <a:r>
              <a:rPr sz="600" b="0" i="0" dirty="0" err="1">
                <a:effectLst/>
                <a:latin typeface="Arial"/>
                <a:cs typeface="Arial"/>
              </a:rPr>
              <a:t>az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egyszerűségért</a:t>
            </a:r>
            <a:r>
              <a:rPr sz="600" b="0" i="0" dirty="0">
                <a:effectLst/>
                <a:latin typeface="Arial"/>
                <a:cs typeface="Arial"/>
              </a:rPr>
              <a:t> ✨🌪️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sz="600" b="0" i="0" dirty="0">
                <a:effectLst/>
                <a:latin typeface="Arial"/>
                <a:cs typeface="Arial"/>
              </a:rPr>
              <a:t>Az </a:t>
            </a:r>
            <a:r>
              <a:rPr sz="600" b="0" i="0" dirty="0" err="1">
                <a:effectLst/>
                <a:latin typeface="Arial"/>
                <a:cs typeface="Arial"/>
              </a:rPr>
              <a:t>olyan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funkciókkal</a:t>
            </a:r>
            <a:r>
              <a:rPr sz="600" b="0" i="0" dirty="0">
                <a:effectLst/>
                <a:latin typeface="Arial"/>
                <a:cs typeface="Arial"/>
              </a:rPr>
              <a:t>, mint </a:t>
            </a:r>
            <a:r>
              <a:rPr sz="600" b="0" i="0" dirty="0" err="1">
                <a:effectLst/>
                <a:latin typeface="Arial"/>
                <a:cs typeface="Arial"/>
              </a:rPr>
              <a:t>az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egyszerű</a:t>
            </a:r>
            <a:r>
              <a:rPr sz="600" b="0" i="0" dirty="0">
                <a:effectLst/>
                <a:latin typeface="Arial"/>
                <a:cs typeface="Arial"/>
              </a:rPr>
              <a:t> és </a:t>
            </a:r>
            <a:r>
              <a:rPr sz="600" b="0" i="0" dirty="0" err="1">
                <a:effectLst/>
                <a:latin typeface="Arial"/>
                <a:cs typeface="Arial"/>
              </a:rPr>
              <a:t>intuitív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használatot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biztosító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színes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érintési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pontok</a:t>
            </a:r>
            <a:r>
              <a:rPr sz="600" b="0" i="0" dirty="0">
                <a:effectLst/>
                <a:latin typeface="Arial"/>
                <a:cs typeface="Arial"/>
              </a:rPr>
              <a:t>, a </a:t>
            </a:r>
            <a:r>
              <a:rPr lang="hu-HU" sz="600" dirty="0">
                <a:latin typeface="Arial"/>
                <a:cs typeface="Arial"/>
              </a:rPr>
              <a:t>lábbal kezelhető pedál</a:t>
            </a:r>
            <a:r>
              <a:rPr sz="600" b="0" i="0" dirty="0">
                <a:effectLst/>
                <a:latin typeface="Arial"/>
                <a:cs typeface="Arial"/>
              </a:rPr>
              <a:t> és a </a:t>
            </a:r>
            <a:r>
              <a:rPr lang="hu-HU" sz="600" dirty="0">
                <a:latin typeface="Arial"/>
                <a:cs typeface="Arial"/>
              </a:rPr>
              <a:t>kábel</a:t>
            </a:r>
            <a:r>
              <a:rPr sz="600" b="0" i="0" dirty="0" err="1">
                <a:effectLst/>
                <a:latin typeface="Arial"/>
                <a:cs typeface="Arial"/>
              </a:rPr>
              <a:t>felcsévélő</a:t>
            </a:r>
            <a:r>
              <a:rPr sz="600" b="0" i="0" dirty="0">
                <a:effectLst/>
                <a:latin typeface="Arial"/>
                <a:cs typeface="Arial"/>
              </a:rPr>
              <a:t>, a Nilfisk </a:t>
            </a:r>
            <a:r>
              <a:rPr sz="600" b="0" i="0" dirty="0" err="1">
                <a:effectLst/>
                <a:latin typeface="Arial"/>
                <a:cs typeface="Arial"/>
              </a:rPr>
              <a:t>új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helytakarékos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száraz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felszívású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porszívói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csodákat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tesznek</a:t>
            </a:r>
            <a:r>
              <a:rPr sz="600" b="0" i="0" dirty="0">
                <a:effectLst/>
                <a:latin typeface="Arial"/>
                <a:cs typeface="Arial"/>
              </a:rPr>
              <a:t> a </a:t>
            </a:r>
            <a:r>
              <a:rPr sz="600" b="0" i="0" dirty="0" err="1">
                <a:effectLst/>
                <a:latin typeface="Arial"/>
                <a:cs typeface="Arial"/>
              </a:rPr>
              <a:t>szerződéses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takarításban</a:t>
            </a:r>
            <a:r>
              <a:rPr sz="600" b="0" i="0" dirty="0">
                <a:effectLst/>
                <a:latin typeface="Arial"/>
                <a:cs typeface="Arial"/>
              </a:rPr>
              <a:t>, </a:t>
            </a:r>
            <a:r>
              <a:rPr sz="600" b="0" i="0" dirty="0" err="1">
                <a:effectLst/>
                <a:latin typeface="Arial"/>
                <a:cs typeface="Arial"/>
              </a:rPr>
              <a:t>az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oktatási</a:t>
            </a:r>
            <a:r>
              <a:rPr sz="600" b="0" i="0" dirty="0">
                <a:effectLst/>
                <a:latin typeface="Arial"/>
                <a:cs typeface="Arial"/>
              </a:rPr>
              <a:t> és </a:t>
            </a:r>
            <a:r>
              <a:rPr sz="600" b="0" i="0" dirty="0" err="1">
                <a:effectLst/>
                <a:latin typeface="Arial"/>
                <a:cs typeface="Arial"/>
              </a:rPr>
              <a:t>egyéb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intézményekben</a:t>
            </a:r>
            <a:r>
              <a:rPr sz="600" b="0" i="0" dirty="0">
                <a:effectLst/>
                <a:latin typeface="Arial"/>
                <a:cs typeface="Arial"/>
              </a:rPr>
              <a:t>, a </a:t>
            </a:r>
            <a:r>
              <a:rPr sz="600" b="0" i="0" dirty="0" err="1">
                <a:effectLst/>
                <a:latin typeface="Arial"/>
                <a:cs typeface="Arial"/>
              </a:rPr>
              <a:t>vendéglátás</a:t>
            </a:r>
            <a:r>
              <a:rPr sz="600" b="0" i="0" dirty="0">
                <a:effectLst/>
                <a:latin typeface="Arial"/>
                <a:cs typeface="Arial"/>
              </a:rPr>
              <a:t>, </a:t>
            </a:r>
            <a:r>
              <a:rPr sz="600" b="0" i="0" dirty="0" err="1">
                <a:effectLst/>
                <a:latin typeface="Arial"/>
                <a:cs typeface="Arial"/>
              </a:rPr>
              <a:t>kiskereskedelem</a:t>
            </a:r>
            <a:r>
              <a:rPr sz="600" b="0" i="0" dirty="0">
                <a:effectLst/>
                <a:latin typeface="Arial"/>
                <a:cs typeface="Arial"/>
              </a:rPr>
              <a:t> és </a:t>
            </a:r>
            <a:r>
              <a:rPr sz="600" b="0" i="0" dirty="0" err="1">
                <a:effectLst/>
                <a:latin typeface="Arial"/>
                <a:cs typeface="Arial"/>
              </a:rPr>
              <a:t>egészségügy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területén</a:t>
            </a:r>
            <a:r>
              <a:rPr sz="600" b="0" i="0" dirty="0">
                <a:effectLst/>
                <a:latin typeface="Arial"/>
                <a:cs typeface="Arial"/>
              </a:rPr>
              <a:t>.</a:t>
            </a:r>
          </a:p>
        </p:txBody>
      </p:sp>
      <p:pic>
        <p:nvPicPr>
          <p:cNvPr id="7" name="CC1_new">
            <a:hlinkClick r:id="" action="ppaction://media"/>
            <a:extLst>
              <a:ext uri="{FF2B5EF4-FFF2-40B4-BE49-F238E27FC236}">
                <a16:creationId xmlns:a16="http://schemas.microsoft.com/office/drawing/2014/main" id="{E6B383B8-8740-092A-E9AA-5AF71AD848D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4537770" y="3523796"/>
            <a:ext cx="1909291" cy="190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34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829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AE007B2-9DDB-EE3A-6DC0-FAD352143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sz="1600" b="0" i="0">
                <a:latin typeface="+mn-lt"/>
              </a:rPr>
              <a:t>Dealer SoMe 02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1634420-3A01-6743-13A1-9A57DF69D97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b="0" i="0"/>
              <a:t>BIZALMAS VÁLLALATI INFORMÁCIÓK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83D22B9-A61B-98AC-39BD-F8B0BDBF5BA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2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A809F138-5B72-49D6-3CEA-4FE6BEE9BE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3" name="Tekstfelt 6">
            <a:extLst>
              <a:ext uri="{FF2B5EF4-FFF2-40B4-BE49-F238E27FC236}">
                <a16:creationId xmlns:a16="http://schemas.microsoft.com/office/drawing/2014/main" id="{79A687FE-4F4D-5628-8283-5B00B2642642}"/>
              </a:ext>
            </a:extLst>
          </p:cNvPr>
          <p:cNvSpPr txBox="1"/>
          <p:nvPr/>
        </p:nvSpPr>
        <p:spPr>
          <a:xfrm>
            <a:off x="4575429" y="2391891"/>
            <a:ext cx="1829729" cy="11079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sz="600" b="0" i="0" dirty="0" err="1">
                <a:effectLst/>
                <a:latin typeface="Arial"/>
                <a:cs typeface="Arial"/>
              </a:rPr>
              <a:t>Sajnos</a:t>
            </a:r>
            <a:r>
              <a:rPr sz="600" b="0" i="0" dirty="0">
                <a:effectLst/>
                <a:latin typeface="Arial"/>
                <a:cs typeface="Arial"/>
              </a:rPr>
              <a:t> a </a:t>
            </a:r>
            <a:r>
              <a:rPr sz="600" b="0" i="0" dirty="0" err="1">
                <a:effectLst/>
                <a:latin typeface="Arial"/>
                <a:cs typeface="Arial"/>
              </a:rPr>
              <a:t>munkaerőhiány</a:t>
            </a:r>
            <a:r>
              <a:rPr sz="600" b="0" i="0" dirty="0">
                <a:effectLst/>
                <a:latin typeface="Arial"/>
                <a:cs typeface="Arial"/>
              </a:rPr>
              <a:t> és a </a:t>
            </a:r>
            <a:r>
              <a:rPr sz="600" b="0" i="0" dirty="0" err="1">
                <a:effectLst/>
                <a:latin typeface="Arial"/>
                <a:cs typeface="Arial"/>
              </a:rPr>
              <a:t>magas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személyzeti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fluktuáció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kihívást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jelent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számos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szerződéses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takarítócég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számára</a:t>
            </a:r>
            <a:r>
              <a:rPr sz="600" b="0" i="0" dirty="0">
                <a:effectLst/>
                <a:latin typeface="Arial"/>
                <a:cs typeface="Arial"/>
              </a:rPr>
              <a:t>. A </a:t>
            </a:r>
            <a:r>
              <a:rPr sz="600" b="0" i="0" dirty="0" err="1">
                <a:effectLst/>
                <a:latin typeface="Arial"/>
                <a:cs typeface="Arial"/>
              </a:rPr>
              <a:t>megfelelő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takarítási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megoldások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segíthetnek</a:t>
            </a:r>
            <a:r>
              <a:rPr sz="600" b="0" i="0" dirty="0">
                <a:effectLst/>
                <a:latin typeface="Arial"/>
                <a:cs typeface="Arial"/>
              </a:rPr>
              <a:t> a </a:t>
            </a:r>
            <a:r>
              <a:rPr sz="600" b="0" i="0" dirty="0" err="1">
                <a:effectLst/>
                <a:latin typeface="Arial"/>
                <a:cs typeface="Arial"/>
              </a:rPr>
              <a:t>munkakörülmények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javításával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ezeknek</a:t>
            </a:r>
            <a:r>
              <a:rPr sz="600" b="0" i="0" dirty="0">
                <a:effectLst/>
                <a:latin typeface="Arial"/>
                <a:cs typeface="Arial"/>
              </a:rPr>
              <a:t> a </a:t>
            </a:r>
            <a:r>
              <a:rPr sz="600" b="0" i="0" dirty="0" err="1">
                <a:effectLst/>
                <a:latin typeface="Arial"/>
                <a:cs typeface="Arial"/>
              </a:rPr>
              <a:t>problémáknak</a:t>
            </a:r>
            <a:r>
              <a:rPr sz="600" b="0" i="0" dirty="0">
                <a:effectLst/>
                <a:latin typeface="Arial"/>
                <a:cs typeface="Arial"/>
              </a:rPr>
              <a:t> a </a:t>
            </a:r>
            <a:r>
              <a:rPr sz="600" b="0" i="0" dirty="0" err="1">
                <a:effectLst/>
                <a:latin typeface="Arial"/>
                <a:cs typeface="Arial"/>
              </a:rPr>
              <a:t>leküzdésében</a:t>
            </a:r>
            <a:r>
              <a:rPr sz="600" b="0" i="0" dirty="0">
                <a:effectLst/>
                <a:latin typeface="Arial"/>
                <a:cs typeface="Arial"/>
              </a:rPr>
              <a:t>.  💪✨ A Nilfisk </a:t>
            </a:r>
            <a:r>
              <a:rPr sz="600" b="0" i="0" dirty="0" err="1">
                <a:effectLst/>
                <a:latin typeface="Arial"/>
                <a:cs typeface="Arial"/>
              </a:rPr>
              <a:t>új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helytakarékos</a:t>
            </a:r>
            <a:r>
              <a:rPr sz="600" b="0" i="0" dirty="0">
                <a:effectLst/>
                <a:latin typeface="Arial"/>
                <a:cs typeface="Arial"/>
              </a:rPr>
              <a:t>, </a:t>
            </a:r>
            <a:r>
              <a:rPr sz="600" b="0" i="0" dirty="0" err="1">
                <a:effectLst/>
                <a:latin typeface="Arial"/>
                <a:cs typeface="Arial"/>
              </a:rPr>
              <a:t>száraz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felszívású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porszívói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erősek</a:t>
            </a:r>
            <a:r>
              <a:rPr sz="600" b="0" i="0" dirty="0">
                <a:effectLst/>
                <a:latin typeface="Arial"/>
                <a:cs typeface="Arial"/>
              </a:rPr>
              <a:t>, </a:t>
            </a:r>
            <a:r>
              <a:rPr sz="600" b="0" i="0" dirty="0" err="1">
                <a:effectLst/>
                <a:latin typeface="Arial"/>
                <a:cs typeface="Arial"/>
              </a:rPr>
              <a:t>ergonomikusak</a:t>
            </a:r>
            <a:r>
              <a:rPr sz="600" b="0" i="0" dirty="0">
                <a:effectLst/>
                <a:latin typeface="Arial"/>
                <a:cs typeface="Arial"/>
              </a:rPr>
              <a:t>, </a:t>
            </a:r>
            <a:r>
              <a:rPr sz="600" b="0" i="0" dirty="0" err="1">
                <a:effectLst/>
                <a:latin typeface="Arial"/>
                <a:cs typeface="Arial"/>
              </a:rPr>
              <a:t>könnyebben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szállíthatók</a:t>
            </a:r>
            <a:r>
              <a:rPr sz="600" b="0" i="0" dirty="0">
                <a:effectLst/>
                <a:latin typeface="Arial"/>
                <a:cs typeface="Arial"/>
              </a:rPr>
              <a:t> és </a:t>
            </a:r>
            <a:r>
              <a:rPr sz="600" b="0" i="0" dirty="0" err="1">
                <a:effectLst/>
                <a:latin typeface="Arial"/>
                <a:cs typeface="Arial"/>
              </a:rPr>
              <a:t>helytakarékosak</a:t>
            </a:r>
            <a:r>
              <a:rPr sz="600" b="0" i="0" dirty="0">
                <a:effectLst/>
                <a:latin typeface="Arial"/>
                <a:cs typeface="Arial"/>
              </a:rPr>
              <a:t>. </a:t>
            </a:r>
            <a:r>
              <a:rPr sz="600" b="0" i="0" dirty="0" err="1">
                <a:effectLst/>
                <a:latin typeface="Arial"/>
                <a:cs typeface="Arial"/>
              </a:rPr>
              <a:t>Felhasználóbarát</a:t>
            </a:r>
            <a:r>
              <a:rPr sz="600" b="0" i="0" dirty="0">
                <a:effectLst/>
                <a:latin typeface="Arial"/>
                <a:cs typeface="Arial"/>
              </a:rPr>
              <a:t>, </a:t>
            </a:r>
            <a:r>
              <a:rPr sz="600" b="0" i="0" dirty="0" err="1">
                <a:effectLst/>
                <a:latin typeface="Arial"/>
                <a:cs typeface="Arial"/>
              </a:rPr>
              <a:t>lábbal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elérhető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kapcsolóval</a:t>
            </a:r>
            <a:r>
              <a:rPr sz="600" b="0" i="0" dirty="0">
                <a:effectLst/>
                <a:latin typeface="Arial"/>
                <a:cs typeface="Arial"/>
              </a:rPr>
              <a:t> és </a:t>
            </a:r>
            <a:r>
              <a:rPr sz="600" b="0" i="0" dirty="0" err="1">
                <a:effectLst/>
                <a:latin typeface="Arial"/>
                <a:cs typeface="Arial"/>
              </a:rPr>
              <a:t>zökkenőmentes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kábelkezeléssel</a:t>
            </a:r>
            <a:r>
              <a:rPr sz="600" b="0" i="0" dirty="0">
                <a:effectLst/>
                <a:latin typeface="Arial"/>
                <a:cs typeface="Arial"/>
              </a:rPr>
              <a:t> is </a:t>
            </a:r>
            <a:r>
              <a:rPr sz="600" b="0" i="0" dirty="0" err="1">
                <a:effectLst/>
                <a:latin typeface="Arial"/>
                <a:cs typeface="Arial"/>
              </a:rPr>
              <a:t>rendelkeznek</a:t>
            </a:r>
            <a:r>
              <a:rPr sz="600" b="0" i="0" dirty="0">
                <a:effectLst/>
                <a:latin typeface="Arial"/>
                <a:cs typeface="Arial"/>
              </a:rPr>
              <a:t>, </a:t>
            </a:r>
            <a:r>
              <a:rPr sz="600" b="0" i="0" dirty="0" err="1">
                <a:effectLst/>
                <a:latin typeface="Arial"/>
                <a:cs typeface="Arial"/>
              </a:rPr>
              <a:t>amelyek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megfelelnek</a:t>
            </a:r>
            <a:r>
              <a:rPr sz="600" b="0" i="0" dirty="0">
                <a:effectLst/>
                <a:latin typeface="Arial"/>
                <a:cs typeface="Arial"/>
              </a:rPr>
              <a:t> a </a:t>
            </a:r>
            <a:r>
              <a:rPr sz="600" b="0" i="0" dirty="0" err="1">
                <a:effectLst/>
                <a:latin typeface="Arial"/>
                <a:cs typeface="Arial"/>
              </a:rPr>
              <a:t>szigorú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egészségvédelmi</a:t>
            </a:r>
            <a:r>
              <a:rPr sz="600" b="0" i="0" dirty="0">
                <a:effectLst/>
                <a:latin typeface="Arial"/>
                <a:cs typeface="Arial"/>
              </a:rPr>
              <a:t> és </a:t>
            </a:r>
            <a:r>
              <a:rPr sz="600" b="0" i="0" dirty="0" err="1">
                <a:effectLst/>
                <a:latin typeface="Arial"/>
                <a:cs typeface="Arial"/>
              </a:rPr>
              <a:t>biztonsági</a:t>
            </a:r>
            <a:r>
              <a:rPr sz="600" b="0" i="0" dirty="0">
                <a:effectLst/>
                <a:latin typeface="Arial"/>
                <a:cs typeface="Arial"/>
              </a:rPr>
              <a:t> </a:t>
            </a:r>
            <a:r>
              <a:rPr sz="600" b="0" i="0" dirty="0" err="1">
                <a:effectLst/>
                <a:latin typeface="Arial"/>
                <a:cs typeface="Arial"/>
              </a:rPr>
              <a:t>követelményeknek</a:t>
            </a:r>
            <a:r>
              <a:rPr sz="600" b="0" i="0" dirty="0">
                <a:effectLst/>
                <a:latin typeface="Arial"/>
                <a:cs typeface="Arial"/>
              </a:rPr>
              <a:t>✔️</a:t>
            </a:r>
          </a:p>
        </p:txBody>
      </p:sp>
      <p:pic>
        <p:nvPicPr>
          <p:cNvPr id="7" name="Animation">
            <a:hlinkClick r:id="" action="ppaction://media"/>
            <a:extLst>
              <a:ext uri="{FF2B5EF4-FFF2-40B4-BE49-F238E27FC236}">
                <a16:creationId xmlns:a16="http://schemas.microsoft.com/office/drawing/2014/main" id="{AE3DAFA2-3129-428D-C801-D565394441E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522036" y="3499887"/>
            <a:ext cx="1936516" cy="1936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66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04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AE007B2-9DDB-EE3A-6DC0-FAD352143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sz="1600" b="0" i="0">
                <a:latin typeface="+mn-lt"/>
              </a:rPr>
              <a:t>Dealer SoMe 03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1634420-3A01-6743-13A1-9A57DF69D97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b="0" i="0"/>
              <a:t>BIZALMAS VÁLLALATI INFORMÁCIÓK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83D22B9-A61B-98AC-39BD-F8B0BDBF5BA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2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A809F138-5B72-49D6-3CEA-4FE6BEE9BE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3" name="Tekstfelt 6">
            <a:extLst>
              <a:ext uri="{FF2B5EF4-FFF2-40B4-BE49-F238E27FC236}">
                <a16:creationId xmlns:a16="http://schemas.microsoft.com/office/drawing/2014/main" id="{79A687FE-4F4D-5628-8283-5B00B2642642}"/>
              </a:ext>
            </a:extLst>
          </p:cNvPr>
          <p:cNvSpPr txBox="1"/>
          <p:nvPr/>
        </p:nvSpPr>
        <p:spPr>
          <a:xfrm>
            <a:off x="4635333" y="2396065"/>
            <a:ext cx="1771563" cy="9694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sz="700" b="0" i="0" dirty="0" err="1">
                <a:effectLst/>
                <a:latin typeface="Arial"/>
                <a:cs typeface="Arial"/>
              </a:rPr>
              <a:t>Hozza</a:t>
            </a:r>
            <a:r>
              <a:rPr sz="700" b="0" i="0" dirty="0">
                <a:effectLst/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magával</a:t>
            </a:r>
            <a:r>
              <a:rPr sz="700" b="0" i="0" dirty="0">
                <a:effectLst/>
                <a:latin typeface="Arial"/>
                <a:cs typeface="Arial"/>
              </a:rPr>
              <a:t> a </a:t>
            </a:r>
            <a:r>
              <a:rPr sz="700" b="0" i="0" dirty="0" err="1">
                <a:effectLst/>
                <a:latin typeface="Arial"/>
                <a:cs typeface="Arial"/>
              </a:rPr>
              <a:t>szupererőt</a:t>
            </a:r>
            <a:r>
              <a:rPr sz="700" b="0" i="0" dirty="0">
                <a:effectLst/>
                <a:latin typeface="Arial"/>
                <a:cs typeface="Arial"/>
              </a:rPr>
              <a:t>! 🌪️ A Nilfisk </a:t>
            </a:r>
            <a:r>
              <a:rPr sz="700" b="0" i="0" dirty="0" err="1">
                <a:effectLst/>
                <a:latin typeface="Arial"/>
                <a:cs typeface="Arial"/>
              </a:rPr>
              <a:t>új</a:t>
            </a:r>
            <a:r>
              <a:rPr sz="700" b="0" i="0" dirty="0">
                <a:effectLst/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száraz</a:t>
            </a:r>
            <a:r>
              <a:rPr sz="700" b="0" i="0" dirty="0">
                <a:effectLst/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felszívású</a:t>
            </a:r>
            <a:r>
              <a:rPr sz="700" b="0" i="0" dirty="0">
                <a:effectLst/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porszívói</a:t>
            </a:r>
            <a:r>
              <a:rPr sz="700" b="0" i="0" dirty="0">
                <a:effectLst/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kiváló</a:t>
            </a:r>
            <a:r>
              <a:rPr sz="700" b="0" i="0" dirty="0">
                <a:effectLst/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teljesítményre</a:t>
            </a:r>
            <a:r>
              <a:rPr sz="700" b="0" i="0" dirty="0">
                <a:effectLst/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készültek</a:t>
            </a:r>
            <a:r>
              <a:rPr sz="700" b="0" i="0" dirty="0">
                <a:effectLst/>
                <a:latin typeface="Arial"/>
                <a:cs typeface="Arial"/>
              </a:rPr>
              <a:t>, </a:t>
            </a:r>
            <a:r>
              <a:rPr sz="700" b="0" i="0" dirty="0" err="1">
                <a:effectLst/>
                <a:latin typeface="Arial"/>
                <a:cs typeface="Arial"/>
              </a:rPr>
              <a:t>mégis</a:t>
            </a:r>
            <a:r>
              <a:rPr sz="700" b="0" i="0" dirty="0">
                <a:effectLst/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egyszerűen</a:t>
            </a:r>
            <a:r>
              <a:rPr sz="700" b="0" i="0" dirty="0">
                <a:effectLst/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kezelhetők</a:t>
            </a:r>
            <a:r>
              <a:rPr sz="700" b="0" i="0" dirty="0">
                <a:effectLst/>
                <a:latin typeface="Arial"/>
                <a:cs typeface="Arial"/>
              </a:rPr>
              <a:t>. </a:t>
            </a:r>
            <a:r>
              <a:rPr sz="700" b="0" i="0" dirty="0" err="1">
                <a:effectLst/>
                <a:latin typeface="Arial"/>
                <a:cs typeface="Arial"/>
              </a:rPr>
              <a:t>Gyorsabban</a:t>
            </a:r>
            <a:r>
              <a:rPr sz="700" b="0" i="0" dirty="0">
                <a:effectLst/>
                <a:latin typeface="Arial"/>
                <a:cs typeface="Arial"/>
              </a:rPr>
              <a:t>, </a:t>
            </a:r>
            <a:r>
              <a:rPr sz="700" b="0" i="0" dirty="0" err="1">
                <a:effectLst/>
                <a:latin typeface="Arial"/>
                <a:cs typeface="Arial"/>
              </a:rPr>
              <a:t>kényelmesebben</a:t>
            </a:r>
            <a:r>
              <a:rPr sz="700" b="0" i="0" dirty="0">
                <a:effectLst/>
                <a:latin typeface="Arial"/>
                <a:cs typeface="Arial"/>
              </a:rPr>
              <a:t> és </a:t>
            </a:r>
            <a:r>
              <a:rPr sz="700" b="0" i="0" dirty="0" err="1">
                <a:effectLst/>
                <a:latin typeface="Arial"/>
                <a:cs typeface="Arial"/>
              </a:rPr>
              <a:t>hatékonyabban</a:t>
            </a:r>
            <a:r>
              <a:rPr sz="700" b="0" i="0" dirty="0">
                <a:effectLst/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végzik</a:t>
            </a:r>
            <a:r>
              <a:rPr sz="700" b="0" i="0" dirty="0">
                <a:effectLst/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el</a:t>
            </a:r>
            <a:r>
              <a:rPr sz="700" b="0" i="0" dirty="0">
                <a:effectLst/>
                <a:latin typeface="Arial"/>
                <a:cs typeface="Arial"/>
              </a:rPr>
              <a:t> a </a:t>
            </a:r>
            <a:r>
              <a:rPr sz="700" b="0" i="0" dirty="0" err="1">
                <a:effectLst/>
                <a:latin typeface="Arial"/>
                <a:cs typeface="Arial"/>
              </a:rPr>
              <a:t>munkájukat</a:t>
            </a:r>
            <a:r>
              <a:rPr sz="700" b="0" i="0" dirty="0">
                <a:effectLst/>
                <a:latin typeface="Arial"/>
                <a:cs typeface="Arial"/>
              </a:rPr>
              <a:t>.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hu-HU" sz="700" kern="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hu-HU" sz="700" kern="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Ön s</a:t>
            </a:r>
            <a:r>
              <a:rPr sz="700" b="0" i="0" dirty="0" err="1">
                <a:latin typeface="Arial"/>
                <a:cs typeface="Arial"/>
              </a:rPr>
              <a:t>zerződéses</a:t>
            </a:r>
            <a:r>
              <a:rPr sz="700" b="0" i="0" dirty="0"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takarító</a:t>
            </a:r>
            <a:r>
              <a:rPr sz="700" b="0" i="0" dirty="0">
                <a:effectLst/>
                <a:latin typeface="Arial"/>
                <a:cs typeface="Arial"/>
              </a:rPr>
              <a:t>,</a:t>
            </a:r>
            <a:r>
              <a:rPr lang="hu-HU" sz="700" b="0" i="0" dirty="0">
                <a:effectLst/>
                <a:latin typeface="Arial"/>
                <a:cs typeface="Arial"/>
              </a:rPr>
              <a:t> esetleg </a:t>
            </a:r>
            <a:r>
              <a:rPr sz="700" b="0" i="0" dirty="0">
                <a:effectLst/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intézményeket</a:t>
            </a:r>
            <a:r>
              <a:rPr sz="700" b="0" i="0" dirty="0">
                <a:latin typeface="Arial"/>
                <a:cs typeface="Arial"/>
              </a:rPr>
              <a:t> </a:t>
            </a:r>
            <a:r>
              <a:rPr sz="700" b="0" i="0" dirty="0" err="1">
                <a:latin typeface="Arial"/>
                <a:cs typeface="Arial"/>
              </a:rPr>
              <a:t>vagy</a:t>
            </a:r>
            <a:r>
              <a:rPr sz="700" b="0" i="0" dirty="0"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vendéglátóipari</a:t>
            </a:r>
            <a:r>
              <a:rPr sz="700" b="0" i="0" dirty="0">
                <a:effectLst/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egységeket</a:t>
            </a:r>
            <a:r>
              <a:rPr sz="700" b="0" i="0" dirty="0">
                <a:effectLst/>
                <a:latin typeface="Arial"/>
                <a:cs typeface="Arial"/>
              </a:rPr>
              <a:t> </a:t>
            </a:r>
            <a:r>
              <a:rPr sz="700" b="0" i="0" dirty="0" err="1">
                <a:effectLst/>
                <a:latin typeface="Arial"/>
                <a:cs typeface="Arial"/>
              </a:rPr>
              <a:t>takarít</a:t>
            </a:r>
            <a:r>
              <a:rPr sz="700" b="0" i="0" dirty="0">
                <a:effectLst/>
                <a:latin typeface="Arial"/>
                <a:cs typeface="Arial"/>
              </a:rPr>
              <a:t>? </a:t>
            </a:r>
            <a:r>
              <a:rPr lang="hu-HU" sz="700" b="0" i="0" dirty="0">
                <a:effectLst/>
                <a:latin typeface="Arial"/>
                <a:cs typeface="Arial"/>
              </a:rPr>
              <a:t>Mutatjuk a megoldást</a:t>
            </a:r>
            <a:r>
              <a:rPr sz="700" b="0" i="0" dirty="0">
                <a:effectLst/>
                <a:latin typeface="Arial"/>
                <a:cs typeface="Arial"/>
              </a:rPr>
              <a:t>.  </a:t>
            </a:r>
          </a:p>
        </p:txBody>
      </p:sp>
      <p:pic>
        <p:nvPicPr>
          <p:cNvPr id="8" name="CC1_3">
            <a:hlinkClick r:id="" action="ppaction://media"/>
            <a:extLst>
              <a:ext uri="{FF2B5EF4-FFF2-40B4-BE49-F238E27FC236}">
                <a16:creationId xmlns:a16="http://schemas.microsoft.com/office/drawing/2014/main" id="{3ED1AE70-A08C-2F8C-739A-1E95CE27108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539303" y="3507761"/>
            <a:ext cx="1919249" cy="1919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592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11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Nilfisk PPT Template" id="{E397C6DC-3B1D-452B-BB8B-766555AC41F2}" vid="{338EA829-E539-4FC2-ADFC-5DD7740DF18A}"/>
    </a:ext>
  </a:extLst>
</a:theme>
</file>

<file path=ppt/theme/theme2.xml><?xml version="1.0" encoding="utf-8"?>
<a:theme xmlns:a="http://schemas.openxmlformats.org/drawingml/2006/main" name="Brugerdefineret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ilfisk PPT Template" id="{E397C6DC-3B1D-452B-BB8B-766555AC41F2}" vid="{500DDAD9-80CA-43AA-A5AA-3AA1830976E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716608206D324DBC6F15D0D9E0D202" ma:contentTypeVersion="4" ma:contentTypeDescription="Create a new document." ma:contentTypeScope="" ma:versionID="8e44723f028f5a0fde4b4f22795d821d">
  <xsd:schema xmlns:xsd="http://www.w3.org/2001/XMLSchema" xmlns:xs="http://www.w3.org/2001/XMLSchema" xmlns:p="http://schemas.microsoft.com/office/2006/metadata/properties" xmlns:ns2="8bed6621-2bb0-4ed3-ab9b-82a08b1b8bf8" targetNamespace="http://schemas.microsoft.com/office/2006/metadata/properties" ma:root="true" ma:fieldsID="dbc48c6575bab7068a4b332b31925b6f" ns2:_="">
    <xsd:import namespace="8bed6621-2bb0-4ed3-ab9b-82a08b1b8b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ed6621-2bb0-4ed3-ab9b-82a08b1b8b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8bed6621-2bb0-4ed3-ab9b-82a08b1b8bf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2E23758-8383-4614-8531-C877DF374602}">
  <ds:schemaRefs>
    <ds:schemaRef ds:uri="8bed6621-2bb0-4ed3-ab9b-82a08b1b8bf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Toolbox_Standard_4-3</Template>
  <TotalTime>53</TotalTime>
  <Words>218</Words>
  <Application>Microsoft Office PowerPoint</Application>
  <PresentationFormat>Szélesvásznú</PresentationFormat>
  <Paragraphs>20</Paragraphs>
  <Slides>4</Slides>
  <Notes>1</Notes>
  <HiddenSlides>0</HiddenSlides>
  <MMClips>3</MMClips>
  <ScaleCrop>false</ScaleCrop>
  <HeadingPairs>
    <vt:vector size="8" baseType="variant">
      <vt:variant>
        <vt:lpstr>Használt betűtípusok</vt:lpstr>
      </vt:variant>
      <vt:variant>
        <vt:i4>8</vt:i4>
      </vt:variant>
      <vt:variant>
        <vt:lpstr>Téma</vt:lpstr>
      </vt:variant>
      <vt:variant>
        <vt:i4>2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4</vt:i4>
      </vt:variant>
    </vt:vector>
  </HeadingPairs>
  <TitlesOfParts>
    <vt:vector size="15" baseType="lpstr">
      <vt:lpstr>Aptos</vt:lpstr>
      <vt:lpstr>Aptos Display</vt:lpstr>
      <vt:lpstr>Arial</vt:lpstr>
      <vt:lpstr>Calibri</vt:lpstr>
      <vt:lpstr>Courier New</vt:lpstr>
      <vt:lpstr>Roboto Black</vt:lpstr>
      <vt:lpstr>Roboto Bold</vt:lpstr>
      <vt:lpstr>Roboto Light</vt:lpstr>
      <vt:lpstr>Nilfisk Toolbox_Standard_4-3</vt:lpstr>
      <vt:lpstr>Brugerdefineret design</vt:lpstr>
      <vt:lpstr>think-cell Slide</vt:lpstr>
      <vt:lpstr>PowerPoint-bemutató</vt:lpstr>
      <vt:lpstr>Dealer SoMe 01</vt:lpstr>
      <vt:lpstr>Dealer SoMe 02</vt:lpstr>
      <vt:lpstr>Dealer SoMe 03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mas Brender</dc:creator>
  <cp:lastModifiedBy>Andrea Zsilinszky</cp:lastModifiedBy>
  <cp:revision>9</cp:revision>
  <dcterms:created xsi:type="dcterms:W3CDTF">2024-10-07T09:42:34Z</dcterms:created>
  <dcterms:modified xsi:type="dcterms:W3CDTF">2025-01-21T13:1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E9716608206D324DBC6F15D0D9E0D202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